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6" r:id="rId4"/>
  </p:sldMasterIdLst>
  <p:notesMasterIdLst>
    <p:notesMasterId r:id="rId6"/>
  </p:notesMasterIdLst>
  <p:handoutMasterIdLst>
    <p:handoutMasterId r:id="rId7"/>
  </p:handoutMasterIdLst>
  <p:sldIdLst>
    <p:sldId id="394" r:id="rId5"/>
  </p:sldIdLst>
  <p:sldSz cx="12192000" cy="6858000"/>
  <p:notesSz cx="7315200" cy="96012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72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4799" autoAdjust="0"/>
  </p:normalViewPr>
  <p:slideViewPr>
    <p:cSldViewPr snapToGrid="0" showGuides="1">
      <p:cViewPr varScale="1">
        <p:scale>
          <a:sx n="58" d="100"/>
          <a:sy n="58" d="100"/>
        </p:scale>
        <p:origin x="912" y="56"/>
      </p:cViewPr>
      <p:guideLst>
        <p:guide/>
        <p:guide orient="horz" pos="2047"/>
        <p:guide orient="horz" pos="1593"/>
        <p:guide orient="horz" pos="2568"/>
        <p:guide orient="horz" pos="3072"/>
        <p:guide orient="horz" pos="3589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-1512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ulfer, Gretchen" userId="c352446a-8589-4ce1-8481-211528268116" providerId="ADAL" clId="{721808D4-8791-4D6C-B163-D040F9971C9B}"/>
    <pc:docChg chg="undo redo custSel delSld modSld modMainMaster">
      <pc:chgData name="Schulfer, Gretchen" userId="c352446a-8589-4ce1-8481-211528268116" providerId="ADAL" clId="{721808D4-8791-4D6C-B163-D040F9971C9B}" dt="2020-03-23T21:12:24.682" v="1263" actId="20577"/>
      <pc:docMkLst>
        <pc:docMk/>
      </pc:docMkLst>
      <pc:sldChg chg="del">
        <pc:chgData name="Schulfer, Gretchen" userId="c352446a-8589-4ce1-8481-211528268116" providerId="ADAL" clId="{721808D4-8791-4D6C-B163-D040F9971C9B}" dt="2020-03-23T04:30:48.363" v="151" actId="2696"/>
        <pc:sldMkLst>
          <pc:docMk/>
          <pc:sldMk cId="1886603993" sldId="261"/>
        </pc:sldMkLst>
      </pc:sldChg>
      <pc:sldChg chg="modSp">
        <pc:chgData name="Schulfer, Gretchen" userId="c352446a-8589-4ce1-8481-211528268116" providerId="ADAL" clId="{721808D4-8791-4D6C-B163-D040F9971C9B}" dt="2020-03-23T04:31:28.863" v="175" actId="20577"/>
        <pc:sldMkLst>
          <pc:docMk/>
          <pc:sldMk cId="2338008872" sldId="263"/>
        </pc:sldMkLst>
        <pc:spChg chg="mod">
          <ac:chgData name="Schulfer, Gretchen" userId="c352446a-8589-4ce1-8481-211528268116" providerId="ADAL" clId="{721808D4-8791-4D6C-B163-D040F9971C9B}" dt="2020-03-23T04:31:28.863" v="175" actId="20577"/>
          <ac:spMkLst>
            <pc:docMk/>
            <pc:sldMk cId="2338008872" sldId="263"/>
            <ac:spMk id="2" creationId="{738F0E80-AC91-4A1F-8E56-CCBC7BBA31F6}"/>
          </ac:spMkLst>
        </pc:spChg>
      </pc:sldChg>
      <pc:sldChg chg="modSp">
        <pc:chgData name="Schulfer, Gretchen" userId="c352446a-8589-4ce1-8481-211528268116" providerId="ADAL" clId="{721808D4-8791-4D6C-B163-D040F9971C9B}" dt="2020-03-23T09:22:24.005" v="1200"/>
        <pc:sldMkLst>
          <pc:docMk/>
          <pc:sldMk cId="696291887" sldId="264"/>
        </pc:sldMkLst>
        <pc:graphicFrameChg chg="mod">
          <ac:chgData name="Schulfer, Gretchen" userId="c352446a-8589-4ce1-8481-211528268116" providerId="ADAL" clId="{721808D4-8791-4D6C-B163-D040F9971C9B}" dt="2020-03-23T09:22:24.005" v="1200"/>
          <ac:graphicFrameMkLst>
            <pc:docMk/>
            <pc:sldMk cId="696291887" sldId="264"/>
            <ac:graphicFrameMk id="7" creationId="{00000000-0000-0000-0000-000000000000}"/>
          </ac:graphicFrameMkLst>
        </pc:graphicFrameChg>
      </pc:sldChg>
      <pc:sldChg chg="modSp">
        <pc:chgData name="Schulfer, Gretchen" userId="c352446a-8589-4ce1-8481-211528268116" providerId="ADAL" clId="{721808D4-8791-4D6C-B163-D040F9971C9B}" dt="2020-03-23T04:30:28.040" v="150" actId="20577"/>
        <pc:sldMkLst>
          <pc:docMk/>
          <pc:sldMk cId="861957290" sldId="341"/>
        </pc:sldMkLst>
        <pc:spChg chg="mod">
          <ac:chgData name="Schulfer, Gretchen" userId="c352446a-8589-4ce1-8481-211528268116" providerId="ADAL" clId="{721808D4-8791-4D6C-B163-D040F9971C9B}" dt="2020-03-23T04:30:28.040" v="150" actId="20577"/>
          <ac:spMkLst>
            <pc:docMk/>
            <pc:sldMk cId="861957290" sldId="341"/>
            <ac:spMk id="13" creationId="{DE5B9CEA-5E73-4E22-8C75-E8D43059FFC7}"/>
          </ac:spMkLst>
        </pc:spChg>
        <pc:picChg chg="mod">
          <ac:chgData name="Schulfer, Gretchen" userId="c352446a-8589-4ce1-8481-211528268116" providerId="ADAL" clId="{721808D4-8791-4D6C-B163-D040F9971C9B}" dt="2020-03-23T04:26:19.523" v="9" actId="14100"/>
          <ac:picMkLst>
            <pc:docMk/>
            <pc:sldMk cId="861957290" sldId="341"/>
            <ac:picMk id="6" creationId="{671D8E20-75FB-424D-BC72-4008C3FC4D1F}"/>
          </ac:picMkLst>
        </pc:picChg>
      </pc:sldChg>
      <pc:sldChg chg="modSp">
        <pc:chgData name="Schulfer, Gretchen" userId="c352446a-8589-4ce1-8481-211528268116" providerId="ADAL" clId="{721808D4-8791-4D6C-B163-D040F9971C9B}" dt="2020-03-23T06:53:03.401" v="903" actId="20577"/>
        <pc:sldMkLst>
          <pc:docMk/>
          <pc:sldMk cId="2086385603" sldId="342"/>
        </pc:sldMkLst>
        <pc:spChg chg="mod">
          <ac:chgData name="Schulfer, Gretchen" userId="c352446a-8589-4ce1-8481-211528268116" providerId="ADAL" clId="{721808D4-8791-4D6C-B163-D040F9971C9B}" dt="2020-03-23T06:53:03.401" v="903" actId="20577"/>
          <ac:spMkLst>
            <pc:docMk/>
            <pc:sldMk cId="2086385603" sldId="342"/>
            <ac:spMk id="5" creationId="{00000000-0000-0000-0000-000000000000}"/>
          </ac:spMkLst>
        </pc:spChg>
      </pc:sldChg>
      <pc:sldChg chg="del">
        <pc:chgData name="Schulfer, Gretchen" userId="c352446a-8589-4ce1-8481-211528268116" providerId="ADAL" clId="{721808D4-8791-4D6C-B163-D040F9971C9B}" dt="2020-03-23T09:14:51.683" v="1197" actId="2696"/>
        <pc:sldMkLst>
          <pc:docMk/>
          <pc:sldMk cId="1516938311" sldId="343"/>
        </pc:sldMkLst>
      </pc:sldChg>
      <pc:sldChg chg="modSp">
        <pc:chgData name="Schulfer, Gretchen" userId="c352446a-8589-4ce1-8481-211528268116" providerId="ADAL" clId="{721808D4-8791-4D6C-B163-D040F9971C9B}" dt="2020-03-23T06:59:53.959" v="904"/>
        <pc:sldMkLst>
          <pc:docMk/>
          <pc:sldMk cId="2552575641" sldId="344"/>
        </pc:sldMkLst>
        <pc:spChg chg="mod">
          <ac:chgData name="Schulfer, Gretchen" userId="c352446a-8589-4ce1-8481-211528268116" providerId="ADAL" clId="{721808D4-8791-4D6C-B163-D040F9971C9B}" dt="2020-03-23T06:59:53.959" v="904"/>
          <ac:spMkLst>
            <pc:docMk/>
            <pc:sldMk cId="2552575641" sldId="344"/>
            <ac:spMk id="5" creationId="{00000000-0000-0000-0000-000000000000}"/>
          </ac:spMkLst>
        </pc:spChg>
      </pc:sldChg>
      <pc:sldChg chg="modSp">
        <pc:chgData name="Schulfer, Gretchen" userId="c352446a-8589-4ce1-8481-211528268116" providerId="ADAL" clId="{721808D4-8791-4D6C-B163-D040F9971C9B}" dt="2020-03-23T21:02:46.154" v="1245" actId="113"/>
        <pc:sldMkLst>
          <pc:docMk/>
          <pc:sldMk cId="4231841769" sldId="347"/>
        </pc:sldMkLst>
        <pc:spChg chg="mod">
          <ac:chgData name="Schulfer, Gretchen" userId="c352446a-8589-4ce1-8481-211528268116" providerId="ADAL" clId="{721808D4-8791-4D6C-B163-D040F9971C9B}" dt="2020-03-23T21:02:46.154" v="1245" actId="113"/>
          <ac:spMkLst>
            <pc:docMk/>
            <pc:sldMk cId="4231841769" sldId="347"/>
            <ac:spMk id="3" creationId="{00000000-0000-0000-0000-000000000000}"/>
          </ac:spMkLst>
        </pc:spChg>
        <pc:picChg chg="mod">
          <ac:chgData name="Schulfer, Gretchen" userId="c352446a-8589-4ce1-8481-211528268116" providerId="ADAL" clId="{721808D4-8791-4D6C-B163-D040F9971C9B}" dt="2020-03-23T06:44:13.251" v="745" actId="1076"/>
          <ac:picMkLst>
            <pc:docMk/>
            <pc:sldMk cId="4231841769" sldId="347"/>
            <ac:picMk id="7" creationId="{00000000-0000-0000-0000-000000000000}"/>
          </ac:picMkLst>
        </pc:picChg>
      </pc:sldChg>
      <pc:sldChg chg="modSp">
        <pc:chgData name="Schulfer, Gretchen" userId="c352446a-8589-4ce1-8481-211528268116" providerId="ADAL" clId="{721808D4-8791-4D6C-B163-D040F9971C9B}" dt="2020-03-23T07:00:51.188" v="906"/>
        <pc:sldMkLst>
          <pc:docMk/>
          <pc:sldMk cId="2718855235" sldId="351"/>
        </pc:sldMkLst>
        <pc:spChg chg="mod">
          <ac:chgData name="Schulfer, Gretchen" userId="c352446a-8589-4ce1-8481-211528268116" providerId="ADAL" clId="{721808D4-8791-4D6C-B163-D040F9971C9B}" dt="2020-03-23T07:00:46.797" v="905"/>
          <ac:spMkLst>
            <pc:docMk/>
            <pc:sldMk cId="2718855235" sldId="351"/>
            <ac:spMk id="5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7:00:51.188" v="906"/>
          <ac:spMkLst>
            <pc:docMk/>
            <pc:sldMk cId="2718855235" sldId="351"/>
            <ac:spMk id="6" creationId="{00000000-0000-0000-0000-000000000000}"/>
          </ac:spMkLst>
        </pc:spChg>
      </pc:sldChg>
      <pc:sldChg chg="modSp">
        <pc:chgData name="Schulfer, Gretchen" userId="c352446a-8589-4ce1-8481-211528268116" providerId="ADAL" clId="{721808D4-8791-4D6C-B163-D040F9971C9B}" dt="2020-03-23T07:01:15.944" v="907" actId="14"/>
        <pc:sldMkLst>
          <pc:docMk/>
          <pc:sldMk cId="2455205156" sldId="356"/>
        </pc:sldMkLst>
        <pc:spChg chg="mod">
          <ac:chgData name="Schulfer, Gretchen" userId="c352446a-8589-4ce1-8481-211528268116" providerId="ADAL" clId="{721808D4-8791-4D6C-B163-D040F9971C9B}" dt="2020-03-23T07:01:15.944" v="907" actId="14"/>
          <ac:spMkLst>
            <pc:docMk/>
            <pc:sldMk cId="2455205156" sldId="356"/>
            <ac:spMk id="2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32:31.681" v="226" actId="20577"/>
          <ac:spMkLst>
            <pc:docMk/>
            <pc:sldMk cId="2455205156" sldId="356"/>
            <ac:spMk id="5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32:25.256" v="214" actId="20577"/>
          <ac:spMkLst>
            <pc:docMk/>
            <pc:sldMk cId="2455205156" sldId="356"/>
            <ac:spMk id="6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33:08.866" v="252" actId="20577"/>
          <ac:spMkLst>
            <pc:docMk/>
            <pc:sldMk cId="2455205156" sldId="356"/>
            <ac:spMk id="32" creationId="{00000000-0000-0000-0000-000000000000}"/>
          </ac:spMkLst>
        </pc:spChg>
      </pc:sldChg>
      <pc:sldChg chg="addSp delSp modSp">
        <pc:chgData name="Schulfer, Gretchen" userId="c352446a-8589-4ce1-8481-211528268116" providerId="ADAL" clId="{721808D4-8791-4D6C-B163-D040F9971C9B}" dt="2020-03-23T06:45:02.425" v="774" actId="122"/>
        <pc:sldMkLst>
          <pc:docMk/>
          <pc:sldMk cId="1483206882" sldId="357"/>
        </pc:sldMkLst>
        <pc:spChg chg="del mod">
          <ac:chgData name="Schulfer, Gretchen" userId="c352446a-8589-4ce1-8481-211528268116" providerId="ADAL" clId="{721808D4-8791-4D6C-B163-D040F9971C9B}" dt="2020-03-23T06:44:44.660" v="746" actId="478"/>
          <ac:spMkLst>
            <pc:docMk/>
            <pc:sldMk cId="1483206882" sldId="357"/>
            <ac:spMk id="5" creationId="{00000000-0000-0000-0000-000000000000}"/>
          </ac:spMkLst>
        </pc:spChg>
        <pc:spChg chg="add del mod">
          <ac:chgData name="Schulfer, Gretchen" userId="c352446a-8589-4ce1-8481-211528268116" providerId="ADAL" clId="{721808D4-8791-4D6C-B163-D040F9971C9B}" dt="2020-03-23T06:44:46.814" v="747" actId="478"/>
          <ac:spMkLst>
            <pc:docMk/>
            <pc:sldMk cId="1483206882" sldId="357"/>
            <ac:spMk id="6" creationId="{1F4D65E6-6C22-459C-AA54-2CD78E7B85FE}"/>
          </ac:spMkLst>
        </pc:spChg>
        <pc:spChg chg="add del mod">
          <ac:chgData name="Schulfer, Gretchen" userId="c352446a-8589-4ce1-8481-211528268116" providerId="ADAL" clId="{721808D4-8791-4D6C-B163-D040F9971C9B}" dt="2020-03-23T04:35:09.290" v="264" actId="478"/>
          <ac:spMkLst>
            <pc:docMk/>
            <pc:sldMk cId="1483206882" sldId="357"/>
            <ac:spMk id="6" creationId="{794DB645-DD5A-4938-94EB-411B1E245F7C}"/>
          </ac:spMkLst>
        </pc:spChg>
        <pc:spChg chg="mod">
          <ac:chgData name="Schulfer, Gretchen" userId="c352446a-8589-4ce1-8481-211528268116" providerId="ADAL" clId="{721808D4-8791-4D6C-B163-D040F9971C9B}" dt="2020-03-23T06:44:54.888" v="759" actId="20577"/>
          <ac:spMkLst>
            <pc:docMk/>
            <pc:sldMk cId="1483206882" sldId="357"/>
            <ac:spMk id="9" creationId="{00000000-0000-0000-0000-000000000000}"/>
          </ac:spMkLst>
        </pc:spChg>
        <pc:spChg chg="add del mod">
          <ac:chgData name="Schulfer, Gretchen" userId="c352446a-8589-4ce1-8481-211528268116" providerId="ADAL" clId="{721808D4-8791-4D6C-B163-D040F9971C9B}" dt="2020-03-23T04:35:12.412" v="265" actId="14100"/>
          <ac:spMkLst>
            <pc:docMk/>
            <pc:sldMk cId="1483206882" sldId="357"/>
            <ac:spMk id="16" creationId="{2F94539D-AB78-4C77-A28C-FF8591668168}"/>
          </ac:spMkLst>
        </pc:spChg>
        <pc:spChg chg="mod">
          <ac:chgData name="Schulfer, Gretchen" userId="c352446a-8589-4ce1-8481-211528268116" providerId="ADAL" clId="{721808D4-8791-4D6C-B163-D040F9971C9B}" dt="2020-03-23T06:45:02.425" v="774" actId="122"/>
          <ac:spMkLst>
            <pc:docMk/>
            <pc:sldMk cId="1483206882" sldId="357"/>
            <ac:spMk id="20" creationId="{00000000-0000-0000-0000-000000000000}"/>
          </ac:spMkLst>
        </pc:spChg>
        <pc:spChg chg="del">
          <ac:chgData name="Schulfer, Gretchen" userId="c352446a-8589-4ce1-8481-211528268116" providerId="ADAL" clId="{721808D4-8791-4D6C-B163-D040F9971C9B}" dt="2020-03-23T04:35:06.618" v="263" actId="478"/>
          <ac:spMkLst>
            <pc:docMk/>
            <pc:sldMk cId="1483206882" sldId="357"/>
            <ac:spMk id="22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6:44:51.081" v="755" actId="20577"/>
          <ac:spMkLst>
            <pc:docMk/>
            <pc:sldMk cId="1483206882" sldId="357"/>
            <ac:spMk id="55" creationId="{00000000-0000-0000-0000-000000000000}"/>
          </ac:spMkLst>
        </pc:spChg>
      </pc:sldChg>
      <pc:sldChg chg="addSp delSp modSp">
        <pc:chgData name="Schulfer, Gretchen" userId="c352446a-8589-4ce1-8481-211528268116" providerId="ADAL" clId="{721808D4-8791-4D6C-B163-D040F9971C9B}" dt="2020-03-23T07:02:39.510" v="974" actId="20577"/>
        <pc:sldMkLst>
          <pc:docMk/>
          <pc:sldMk cId="2905808825" sldId="358"/>
        </pc:sldMkLst>
        <pc:spChg chg="add del mod">
          <ac:chgData name="Schulfer, Gretchen" userId="c352446a-8589-4ce1-8481-211528268116" providerId="ADAL" clId="{721808D4-8791-4D6C-B163-D040F9971C9B}" dt="2020-03-23T04:37:48.427" v="433" actId="20577"/>
          <ac:spMkLst>
            <pc:docMk/>
            <pc:sldMk cId="2905808825" sldId="358"/>
            <ac:spMk id="4" creationId="{9CC786F7-A8AC-460A-8525-E21FAE8634BE}"/>
          </ac:spMkLst>
        </pc:spChg>
        <pc:spChg chg="mod">
          <ac:chgData name="Schulfer, Gretchen" userId="c352446a-8589-4ce1-8481-211528268116" providerId="ADAL" clId="{721808D4-8791-4D6C-B163-D040F9971C9B}" dt="2020-03-23T07:02:39.510" v="974" actId="20577"/>
          <ac:spMkLst>
            <pc:docMk/>
            <pc:sldMk cId="2905808825" sldId="358"/>
            <ac:spMk id="5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36:34.944" v="350" actId="20577"/>
          <ac:spMkLst>
            <pc:docMk/>
            <pc:sldMk cId="2905808825" sldId="358"/>
            <ac:spMk id="7" creationId="{00000000-0000-0000-0000-000000000000}"/>
          </ac:spMkLst>
        </pc:spChg>
        <pc:spChg chg="add del">
          <ac:chgData name="Schulfer, Gretchen" userId="c352446a-8589-4ce1-8481-211528268116" providerId="ADAL" clId="{721808D4-8791-4D6C-B163-D040F9971C9B}" dt="2020-03-23T04:36:06.993" v="306"/>
          <ac:spMkLst>
            <pc:docMk/>
            <pc:sldMk cId="2905808825" sldId="358"/>
            <ac:spMk id="10" creationId="{3A9D9445-A79C-4E5E-B4FA-5C9BA1D7AE7F}"/>
          </ac:spMkLst>
        </pc:spChg>
        <pc:spChg chg="mod">
          <ac:chgData name="Schulfer, Gretchen" userId="c352446a-8589-4ce1-8481-211528268116" providerId="ADAL" clId="{721808D4-8791-4D6C-B163-D040F9971C9B}" dt="2020-03-23T04:36:30.700" v="338" actId="20577"/>
          <ac:spMkLst>
            <pc:docMk/>
            <pc:sldMk cId="2905808825" sldId="358"/>
            <ac:spMk id="14" creationId="{00000000-0000-0000-0000-000000000000}"/>
          </ac:spMkLst>
        </pc:spChg>
        <pc:spChg chg="del">
          <ac:chgData name="Schulfer, Gretchen" userId="c352446a-8589-4ce1-8481-211528268116" providerId="ADAL" clId="{721808D4-8791-4D6C-B163-D040F9971C9B}" dt="2020-03-23T04:36:02.073" v="303" actId="478"/>
          <ac:spMkLst>
            <pc:docMk/>
            <pc:sldMk cId="2905808825" sldId="358"/>
            <ac:spMk id="56" creationId="{00000000-0000-0000-0000-000000000000}"/>
          </ac:spMkLst>
        </pc:spChg>
      </pc:sldChg>
      <pc:sldChg chg="modSp">
        <pc:chgData name="Schulfer, Gretchen" userId="c352446a-8589-4ce1-8481-211528268116" providerId="ADAL" clId="{721808D4-8791-4D6C-B163-D040F9971C9B}" dt="2020-03-23T04:37:44.021" v="432" actId="20577"/>
        <pc:sldMkLst>
          <pc:docMk/>
          <pc:sldMk cId="3491360553" sldId="359"/>
        </pc:sldMkLst>
        <pc:spChg chg="mod">
          <ac:chgData name="Schulfer, Gretchen" userId="c352446a-8589-4ce1-8481-211528268116" providerId="ADAL" clId="{721808D4-8791-4D6C-B163-D040F9971C9B}" dt="2020-03-23T04:37:44.021" v="432" actId="20577"/>
          <ac:spMkLst>
            <pc:docMk/>
            <pc:sldMk cId="3491360553" sldId="359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36:53.701" v="385" actId="20577"/>
          <ac:spMkLst>
            <pc:docMk/>
            <pc:sldMk cId="3491360553" sldId="359"/>
            <ac:spMk id="22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36:48.423" v="367" actId="20577"/>
          <ac:spMkLst>
            <pc:docMk/>
            <pc:sldMk cId="3491360553" sldId="359"/>
            <ac:spMk id="33" creationId="{00000000-0000-0000-0000-000000000000}"/>
          </ac:spMkLst>
        </pc:spChg>
      </pc:sldChg>
      <pc:sldChg chg="addSp delSp modSp">
        <pc:chgData name="Schulfer, Gretchen" userId="c352446a-8589-4ce1-8481-211528268116" providerId="ADAL" clId="{721808D4-8791-4D6C-B163-D040F9971C9B}" dt="2020-03-23T21:11:07.473" v="1261" actId="207"/>
        <pc:sldMkLst>
          <pc:docMk/>
          <pc:sldMk cId="853970033" sldId="360"/>
        </pc:sldMkLst>
        <pc:spChg chg="del mod">
          <ac:chgData name="Schulfer, Gretchen" userId="c352446a-8589-4ce1-8481-211528268116" providerId="ADAL" clId="{721808D4-8791-4D6C-B163-D040F9971C9B}" dt="2020-03-23T06:45:25.426" v="787" actId="478"/>
          <ac:spMkLst>
            <pc:docMk/>
            <pc:sldMk cId="853970033" sldId="360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7:02:03.486" v="924" actId="15"/>
          <ac:spMkLst>
            <pc:docMk/>
            <pc:sldMk cId="853970033" sldId="360"/>
            <ac:spMk id="5" creationId="{00000000-0000-0000-0000-000000000000}"/>
          </ac:spMkLst>
        </pc:spChg>
        <pc:spChg chg="add mod">
          <ac:chgData name="Schulfer, Gretchen" userId="c352446a-8589-4ce1-8481-211528268116" providerId="ADAL" clId="{721808D4-8791-4D6C-B163-D040F9971C9B}" dt="2020-03-23T06:45:33.486" v="798" actId="20577"/>
          <ac:spMkLst>
            <pc:docMk/>
            <pc:sldMk cId="853970033" sldId="360"/>
            <ac:spMk id="6" creationId="{F92ED516-4522-49D7-8420-ABBDDF1B1ABE}"/>
          </ac:spMkLst>
        </pc:spChg>
        <pc:spChg chg="mod">
          <ac:chgData name="Schulfer, Gretchen" userId="c352446a-8589-4ce1-8481-211528268116" providerId="ADAL" clId="{721808D4-8791-4D6C-B163-D040F9971C9B}" dt="2020-03-23T04:37:15.958" v="412" actId="20577"/>
          <ac:spMkLst>
            <pc:docMk/>
            <pc:sldMk cId="853970033" sldId="360"/>
            <ac:spMk id="12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37:37.520" v="429" actId="20577"/>
          <ac:spMkLst>
            <pc:docMk/>
            <pc:sldMk cId="853970033" sldId="360"/>
            <ac:spMk id="36" creationId="{00000000-0000-0000-0000-000000000000}"/>
          </ac:spMkLst>
        </pc:spChg>
        <pc:graphicFrameChg chg="mod">
          <ac:chgData name="Schulfer, Gretchen" userId="c352446a-8589-4ce1-8481-211528268116" providerId="ADAL" clId="{721808D4-8791-4D6C-B163-D040F9971C9B}" dt="2020-03-23T21:11:07.473" v="1261" actId="207"/>
          <ac:graphicFrameMkLst>
            <pc:docMk/>
            <pc:sldMk cId="853970033" sldId="360"/>
            <ac:graphicFrameMk id="26" creationId="{00000000-0000-0000-0000-000000000000}"/>
          </ac:graphicFrameMkLst>
        </pc:graphicFrameChg>
      </pc:sldChg>
      <pc:sldChg chg="modSp">
        <pc:chgData name="Schulfer, Gretchen" userId="c352446a-8589-4ce1-8481-211528268116" providerId="ADAL" clId="{721808D4-8791-4D6C-B163-D040F9971C9B}" dt="2020-03-23T05:47:03.964" v="691"/>
        <pc:sldMkLst>
          <pc:docMk/>
          <pc:sldMk cId="3897328550" sldId="361"/>
        </pc:sldMkLst>
        <pc:spChg chg="mod">
          <ac:chgData name="Schulfer, Gretchen" userId="c352446a-8589-4ce1-8481-211528268116" providerId="ADAL" clId="{721808D4-8791-4D6C-B163-D040F9971C9B}" dt="2020-03-23T05:46:20.507" v="686" actId="948"/>
          <ac:spMkLst>
            <pc:docMk/>
            <pc:sldMk cId="3897328550" sldId="361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39:31.366" v="443" actId="20577"/>
          <ac:spMkLst>
            <pc:docMk/>
            <pc:sldMk cId="3897328550" sldId="361"/>
            <ac:spMk id="5" creationId="{00000000-0000-0000-0000-000000000000}"/>
          </ac:spMkLst>
        </pc:spChg>
        <pc:graphicFrameChg chg="mod">
          <ac:chgData name="Schulfer, Gretchen" userId="c352446a-8589-4ce1-8481-211528268116" providerId="ADAL" clId="{721808D4-8791-4D6C-B163-D040F9971C9B}" dt="2020-03-23T05:47:03.964" v="691"/>
          <ac:graphicFrameMkLst>
            <pc:docMk/>
            <pc:sldMk cId="3897328550" sldId="361"/>
            <ac:graphicFrameMk id="14" creationId="{00000000-0000-0000-0000-000000000000}"/>
          </ac:graphicFrameMkLst>
        </pc:graphicFrameChg>
      </pc:sldChg>
      <pc:sldChg chg="modSp">
        <pc:chgData name="Schulfer, Gretchen" userId="c352446a-8589-4ce1-8481-211528268116" providerId="ADAL" clId="{721808D4-8791-4D6C-B163-D040F9971C9B}" dt="2020-03-23T07:03:10.898" v="975" actId="207"/>
        <pc:sldMkLst>
          <pc:docMk/>
          <pc:sldMk cId="517282277" sldId="362"/>
        </pc:sldMkLst>
        <pc:spChg chg="mod">
          <ac:chgData name="Schulfer, Gretchen" userId="c352446a-8589-4ce1-8481-211528268116" providerId="ADAL" clId="{721808D4-8791-4D6C-B163-D040F9971C9B}" dt="2020-03-23T05:46:36.302" v="689" actId="3064"/>
          <ac:spMkLst>
            <pc:docMk/>
            <pc:sldMk cId="517282277" sldId="362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39:27.008" v="442" actId="20577"/>
          <ac:spMkLst>
            <pc:docMk/>
            <pc:sldMk cId="517282277" sldId="362"/>
            <ac:spMk id="5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7:03:10.898" v="975" actId="207"/>
          <ac:spMkLst>
            <pc:docMk/>
            <pc:sldMk cId="517282277" sldId="362"/>
            <ac:spMk id="17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7:03:10.898" v="975" actId="207"/>
          <ac:spMkLst>
            <pc:docMk/>
            <pc:sldMk cId="517282277" sldId="362"/>
            <ac:spMk id="30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7:03:10.898" v="975" actId="207"/>
          <ac:spMkLst>
            <pc:docMk/>
            <pc:sldMk cId="517282277" sldId="362"/>
            <ac:spMk id="31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7:03:10.898" v="975" actId="207"/>
          <ac:spMkLst>
            <pc:docMk/>
            <pc:sldMk cId="517282277" sldId="362"/>
            <ac:spMk id="32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7:03:10.898" v="975" actId="207"/>
          <ac:spMkLst>
            <pc:docMk/>
            <pc:sldMk cId="517282277" sldId="362"/>
            <ac:spMk id="3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7:03:10.898" v="975" actId="207"/>
          <ac:spMkLst>
            <pc:docMk/>
            <pc:sldMk cId="517282277" sldId="362"/>
            <ac:spMk id="3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7:03:10.898" v="975" actId="207"/>
          <ac:spMkLst>
            <pc:docMk/>
            <pc:sldMk cId="517282277" sldId="362"/>
            <ac:spMk id="35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7:03:10.898" v="975" actId="207"/>
          <ac:spMkLst>
            <pc:docMk/>
            <pc:sldMk cId="517282277" sldId="362"/>
            <ac:spMk id="36" creationId="{00000000-0000-0000-0000-000000000000}"/>
          </ac:spMkLst>
        </pc:spChg>
        <pc:graphicFrameChg chg="mod">
          <ac:chgData name="Schulfer, Gretchen" userId="c352446a-8589-4ce1-8481-211528268116" providerId="ADAL" clId="{721808D4-8791-4D6C-B163-D040F9971C9B}" dt="2020-03-23T05:46:56.023" v="690"/>
          <ac:graphicFrameMkLst>
            <pc:docMk/>
            <pc:sldMk cId="517282277" sldId="362"/>
            <ac:graphicFrameMk id="39" creationId="{00000000-0000-0000-0000-000000000000}"/>
          </ac:graphicFrameMkLst>
        </pc:graphicFrameChg>
      </pc:sldChg>
      <pc:sldChg chg="modSp">
        <pc:chgData name="Schulfer, Gretchen" userId="c352446a-8589-4ce1-8481-211528268116" providerId="ADAL" clId="{721808D4-8791-4D6C-B163-D040F9971C9B}" dt="2020-03-23T07:03:19.967" v="977" actId="207"/>
        <pc:sldMkLst>
          <pc:docMk/>
          <pc:sldMk cId="1105876625" sldId="363"/>
        </pc:sldMkLst>
        <pc:spChg chg="mod">
          <ac:chgData name="Schulfer, Gretchen" userId="c352446a-8589-4ce1-8481-211528268116" providerId="ADAL" clId="{721808D4-8791-4D6C-B163-D040F9971C9B}" dt="2020-03-23T05:47:27.247" v="694" actId="3064"/>
          <ac:spMkLst>
            <pc:docMk/>
            <pc:sldMk cId="1105876625" sldId="363"/>
            <ac:spMk id="5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39:21.401" v="441" actId="20577"/>
          <ac:spMkLst>
            <pc:docMk/>
            <pc:sldMk cId="1105876625" sldId="363"/>
            <ac:spMk id="13" creationId="{00000000-0000-0000-0000-000000000000}"/>
          </ac:spMkLst>
        </pc:spChg>
        <pc:graphicFrameChg chg="mod">
          <ac:chgData name="Schulfer, Gretchen" userId="c352446a-8589-4ce1-8481-211528268116" providerId="ADAL" clId="{721808D4-8791-4D6C-B163-D040F9971C9B}" dt="2020-03-23T07:03:19.967" v="977" actId="207"/>
          <ac:graphicFrameMkLst>
            <pc:docMk/>
            <pc:sldMk cId="1105876625" sldId="363"/>
            <ac:graphicFrameMk id="9" creationId="{00000000-0000-0000-0000-000000000000}"/>
          </ac:graphicFrameMkLst>
        </pc:graphicFrameChg>
      </pc:sldChg>
      <pc:sldChg chg="modSp">
        <pc:chgData name="Schulfer, Gretchen" userId="c352446a-8589-4ce1-8481-211528268116" providerId="ADAL" clId="{721808D4-8791-4D6C-B163-D040F9971C9B}" dt="2020-03-23T07:57:25.085" v="1087" actId="14"/>
        <pc:sldMkLst>
          <pc:docMk/>
          <pc:sldMk cId="2333130088" sldId="364"/>
        </pc:sldMkLst>
        <pc:spChg chg="mod">
          <ac:chgData name="Schulfer, Gretchen" userId="c352446a-8589-4ce1-8481-211528268116" providerId="ADAL" clId="{721808D4-8791-4D6C-B163-D040F9971C9B}" dt="2020-03-23T07:57:25.085" v="1087" actId="14"/>
          <ac:spMkLst>
            <pc:docMk/>
            <pc:sldMk cId="2333130088" sldId="364"/>
            <ac:spMk id="5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40:03.515" v="474" actId="20577"/>
          <ac:spMkLst>
            <pc:docMk/>
            <pc:sldMk cId="2333130088" sldId="364"/>
            <ac:spMk id="7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39:48.024" v="458" actId="20577"/>
          <ac:spMkLst>
            <pc:docMk/>
            <pc:sldMk cId="2333130088" sldId="364"/>
            <ac:spMk id="16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40:52.947" v="495" actId="20577"/>
          <ac:spMkLst>
            <pc:docMk/>
            <pc:sldMk cId="2333130088" sldId="364"/>
            <ac:spMk id="21" creationId="{00000000-0000-0000-0000-000000000000}"/>
          </ac:spMkLst>
        </pc:spChg>
      </pc:sldChg>
      <pc:sldChg chg="modSp">
        <pc:chgData name="Schulfer, Gretchen" userId="c352446a-8589-4ce1-8481-211528268116" providerId="ADAL" clId="{721808D4-8791-4D6C-B163-D040F9971C9B}" dt="2020-03-23T05:48:30.355" v="697" actId="255"/>
        <pc:sldMkLst>
          <pc:docMk/>
          <pc:sldMk cId="1824906246" sldId="365"/>
        </pc:sldMkLst>
        <pc:spChg chg="mod">
          <ac:chgData name="Schulfer, Gretchen" userId="c352446a-8589-4ce1-8481-211528268116" providerId="ADAL" clId="{721808D4-8791-4D6C-B163-D040F9971C9B}" dt="2020-03-23T05:48:30.355" v="697" actId="255"/>
          <ac:spMkLst>
            <pc:docMk/>
            <pc:sldMk cId="1824906246" sldId="365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41:14.687" v="507" actId="20577"/>
          <ac:spMkLst>
            <pc:docMk/>
            <pc:sldMk cId="1824906246" sldId="365"/>
            <ac:spMk id="5" creationId="{00000000-0000-0000-0000-000000000000}"/>
          </ac:spMkLst>
        </pc:spChg>
      </pc:sldChg>
      <pc:sldChg chg="modSp">
        <pc:chgData name="Schulfer, Gretchen" userId="c352446a-8589-4ce1-8481-211528268116" providerId="ADAL" clId="{721808D4-8791-4D6C-B163-D040F9971C9B}" dt="2020-03-23T21:04:08.472" v="1254"/>
        <pc:sldMkLst>
          <pc:docMk/>
          <pc:sldMk cId="551112761" sldId="366"/>
        </pc:sldMkLst>
        <pc:spChg chg="mod">
          <ac:chgData name="Schulfer, Gretchen" userId="c352446a-8589-4ce1-8481-211528268116" providerId="ADAL" clId="{721808D4-8791-4D6C-B163-D040F9971C9B}" dt="2020-03-23T05:48:52.174" v="700" actId="255"/>
          <ac:spMkLst>
            <pc:docMk/>
            <pc:sldMk cId="551112761" sldId="366"/>
            <ac:spMk id="5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41:09.026" v="506" actId="20577"/>
          <ac:spMkLst>
            <pc:docMk/>
            <pc:sldMk cId="551112761" sldId="366"/>
            <ac:spMk id="27" creationId="{00000000-0000-0000-0000-000000000000}"/>
          </ac:spMkLst>
        </pc:spChg>
        <pc:graphicFrameChg chg="mod">
          <ac:chgData name="Schulfer, Gretchen" userId="c352446a-8589-4ce1-8481-211528268116" providerId="ADAL" clId="{721808D4-8791-4D6C-B163-D040F9971C9B}" dt="2020-03-23T21:04:08.472" v="1254"/>
          <ac:graphicFrameMkLst>
            <pc:docMk/>
            <pc:sldMk cId="551112761" sldId="366"/>
            <ac:graphicFrameMk id="17" creationId="{00000000-0000-0000-0000-000000000000}"/>
          </ac:graphicFrameMkLst>
        </pc:graphicFrameChg>
      </pc:sldChg>
      <pc:sldChg chg="addSp delSp modSp">
        <pc:chgData name="Schulfer, Gretchen" userId="c352446a-8589-4ce1-8481-211528268116" providerId="ADAL" clId="{721808D4-8791-4D6C-B163-D040F9971C9B}" dt="2020-03-23T06:46:02.597" v="799" actId="207"/>
        <pc:sldMkLst>
          <pc:docMk/>
          <pc:sldMk cId="1345652904" sldId="370"/>
        </pc:sldMkLst>
        <pc:spChg chg="del mod">
          <ac:chgData name="Schulfer, Gretchen" userId="c352446a-8589-4ce1-8481-211528268116" providerId="ADAL" clId="{721808D4-8791-4D6C-B163-D040F9971C9B}" dt="2020-03-23T04:42:04.340" v="512" actId="478"/>
          <ac:spMkLst>
            <pc:docMk/>
            <pc:sldMk cId="1345652904" sldId="370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41:56.145" v="508"/>
          <ac:spMkLst>
            <pc:docMk/>
            <pc:sldMk cId="1345652904" sldId="370"/>
            <ac:spMk id="8" creationId="{00000000-0000-0000-0000-000000000000}"/>
          </ac:spMkLst>
        </pc:spChg>
        <pc:spChg chg="add mod">
          <ac:chgData name="Schulfer, Gretchen" userId="c352446a-8589-4ce1-8481-211528268116" providerId="ADAL" clId="{721808D4-8791-4D6C-B163-D040F9971C9B}" dt="2020-03-23T06:46:02.597" v="799" actId="207"/>
          <ac:spMkLst>
            <pc:docMk/>
            <pc:sldMk cId="1345652904" sldId="370"/>
            <ac:spMk id="12" creationId="{C1FC5C74-4C48-4B46-A925-807CEFE5D37E}"/>
          </ac:spMkLst>
        </pc:spChg>
      </pc:sldChg>
      <pc:sldChg chg="modSp">
        <pc:chgData name="Schulfer, Gretchen" userId="c352446a-8589-4ce1-8481-211528268116" providerId="ADAL" clId="{721808D4-8791-4D6C-B163-D040F9971C9B}" dt="2020-03-23T07:04:37.945" v="984"/>
        <pc:sldMkLst>
          <pc:docMk/>
          <pc:sldMk cId="3418665187" sldId="372"/>
        </pc:sldMkLst>
        <pc:spChg chg="mod">
          <ac:chgData name="Schulfer, Gretchen" userId="c352446a-8589-4ce1-8481-211528268116" providerId="ADAL" clId="{721808D4-8791-4D6C-B163-D040F9971C9B}" dt="2020-03-23T06:46:09.457" v="800" actId="207"/>
          <ac:spMkLst>
            <pc:docMk/>
            <pc:sldMk cId="3418665187" sldId="372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43:53.285" v="523" actId="20577"/>
          <ac:spMkLst>
            <pc:docMk/>
            <pc:sldMk cId="3418665187" sldId="372"/>
            <ac:spMk id="9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5:49:23.770" v="716" actId="20577"/>
          <ac:spMkLst>
            <pc:docMk/>
            <pc:sldMk cId="3418665187" sldId="372"/>
            <ac:spMk id="16" creationId="{00000000-0000-0000-0000-000000000000}"/>
          </ac:spMkLst>
        </pc:spChg>
        <pc:graphicFrameChg chg="mod">
          <ac:chgData name="Schulfer, Gretchen" userId="c352446a-8589-4ce1-8481-211528268116" providerId="ADAL" clId="{721808D4-8791-4D6C-B163-D040F9971C9B}" dt="2020-03-23T07:04:37.945" v="984"/>
          <ac:graphicFrameMkLst>
            <pc:docMk/>
            <pc:sldMk cId="3418665187" sldId="372"/>
            <ac:graphicFrameMk id="11" creationId="{00000000-0000-0000-0000-000000000000}"/>
          </ac:graphicFrameMkLst>
        </pc:graphicFrameChg>
      </pc:sldChg>
      <pc:sldChg chg="modSp">
        <pc:chgData name="Schulfer, Gretchen" userId="c352446a-8589-4ce1-8481-211528268116" providerId="ADAL" clId="{721808D4-8791-4D6C-B163-D040F9971C9B}" dt="2020-03-23T07:04:53.352" v="986"/>
        <pc:sldMkLst>
          <pc:docMk/>
          <pc:sldMk cId="3887647588" sldId="373"/>
        </pc:sldMkLst>
        <pc:spChg chg="mod">
          <ac:chgData name="Schulfer, Gretchen" userId="c352446a-8589-4ce1-8481-211528268116" providerId="ADAL" clId="{721808D4-8791-4D6C-B163-D040F9971C9B}" dt="2020-03-23T04:43:56.788" v="524" actId="20577"/>
          <ac:spMkLst>
            <pc:docMk/>
            <pc:sldMk cId="3887647588" sldId="373"/>
            <ac:spMk id="6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5:49:34.986" v="731" actId="20577"/>
          <ac:spMkLst>
            <pc:docMk/>
            <pc:sldMk cId="3887647588" sldId="373"/>
            <ac:spMk id="14" creationId="{00000000-0000-0000-0000-000000000000}"/>
          </ac:spMkLst>
        </pc:spChg>
        <pc:graphicFrameChg chg="mod">
          <ac:chgData name="Schulfer, Gretchen" userId="c352446a-8589-4ce1-8481-211528268116" providerId="ADAL" clId="{721808D4-8791-4D6C-B163-D040F9971C9B}" dt="2020-03-23T07:04:53.352" v="986"/>
          <ac:graphicFrameMkLst>
            <pc:docMk/>
            <pc:sldMk cId="3887647588" sldId="373"/>
            <ac:graphicFrameMk id="11" creationId="{00000000-0000-0000-0000-000000000000}"/>
          </ac:graphicFrameMkLst>
        </pc:graphicFrameChg>
      </pc:sldChg>
      <pc:sldChg chg="modSp">
        <pc:chgData name="Schulfer, Gretchen" userId="c352446a-8589-4ce1-8481-211528268116" providerId="ADAL" clId="{721808D4-8791-4D6C-B163-D040F9971C9B}" dt="2020-03-23T07:04:59.340" v="987"/>
        <pc:sldMkLst>
          <pc:docMk/>
          <pc:sldMk cId="1587456036" sldId="374"/>
        </pc:sldMkLst>
        <pc:spChg chg="mod">
          <ac:chgData name="Schulfer, Gretchen" userId="c352446a-8589-4ce1-8481-211528268116" providerId="ADAL" clId="{721808D4-8791-4D6C-B163-D040F9971C9B}" dt="2020-03-23T04:44:01.159" v="525" actId="20577"/>
          <ac:spMkLst>
            <pc:docMk/>
            <pc:sldMk cId="1587456036" sldId="374"/>
            <ac:spMk id="15" creationId="{00000000-0000-0000-0000-000000000000}"/>
          </ac:spMkLst>
        </pc:spChg>
        <pc:graphicFrameChg chg="mod">
          <ac:chgData name="Schulfer, Gretchen" userId="c352446a-8589-4ce1-8481-211528268116" providerId="ADAL" clId="{721808D4-8791-4D6C-B163-D040F9971C9B}" dt="2020-03-23T07:04:59.340" v="987"/>
          <ac:graphicFrameMkLst>
            <pc:docMk/>
            <pc:sldMk cId="1587456036" sldId="374"/>
            <ac:graphicFrameMk id="14" creationId="{00000000-0000-0000-0000-000000000000}"/>
          </ac:graphicFrameMkLst>
        </pc:graphicFrameChg>
      </pc:sldChg>
      <pc:sldChg chg="addSp delSp modSp">
        <pc:chgData name="Schulfer, Gretchen" userId="c352446a-8589-4ce1-8481-211528268116" providerId="ADAL" clId="{721808D4-8791-4D6C-B163-D040F9971C9B}" dt="2020-03-23T07:06:19.654" v="996"/>
        <pc:sldMkLst>
          <pc:docMk/>
          <pc:sldMk cId="1654944373" sldId="375"/>
        </pc:sldMkLst>
        <pc:spChg chg="add">
          <ac:chgData name="Schulfer, Gretchen" userId="c352446a-8589-4ce1-8481-211528268116" providerId="ADAL" clId="{721808D4-8791-4D6C-B163-D040F9971C9B}" dt="2020-03-23T04:44:29.064" v="527"/>
          <ac:spMkLst>
            <pc:docMk/>
            <pc:sldMk cId="1654944373" sldId="375"/>
            <ac:spMk id="20" creationId="{1370DD49-FF6F-465D-9885-0C071F7822D2}"/>
          </ac:spMkLst>
        </pc:spChg>
        <pc:spChg chg="del">
          <ac:chgData name="Schulfer, Gretchen" userId="c352446a-8589-4ce1-8481-211528268116" providerId="ADAL" clId="{721808D4-8791-4D6C-B163-D040F9971C9B}" dt="2020-03-23T04:44:23.876" v="526" actId="478"/>
          <ac:spMkLst>
            <pc:docMk/>
            <pc:sldMk cId="1654944373" sldId="375"/>
            <ac:spMk id="84" creationId="{00000000-0000-0000-0000-000000000000}"/>
          </ac:spMkLst>
        </pc:spChg>
        <pc:graphicFrameChg chg="mod modGraphic">
          <ac:chgData name="Schulfer, Gretchen" userId="c352446a-8589-4ce1-8481-211528268116" providerId="ADAL" clId="{721808D4-8791-4D6C-B163-D040F9971C9B}" dt="2020-03-23T07:06:19.654" v="996"/>
          <ac:graphicFrameMkLst>
            <pc:docMk/>
            <pc:sldMk cId="1654944373" sldId="375"/>
            <ac:graphicFrameMk id="37" creationId="{00000000-0000-0000-0000-000000000000}"/>
          </ac:graphicFrameMkLst>
        </pc:graphicFrameChg>
      </pc:sldChg>
      <pc:sldChg chg="addSp delSp modSp">
        <pc:chgData name="Schulfer, Gretchen" userId="c352446a-8589-4ce1-8481-211528268116" providerId="ADAL" clId="{721808D4-8791-4D6C-B163-D040F9971C9B}" dt="2020-03-23T04:44:59.117" v="543"/>
        <pc:sldMkLst>
          <pc:docMk/>
          <pc:sldMk cId="153350407" sldId="377"/>
        </pc:sldMkLst>
        <pc:spChg chg="mod">
          <ac:chgData name="Schulfer, Gretchen" userId="c352446a-8589-4ce1-8481-211528268116" providerId="ADAL" clId="{721808D4-8791-4D6C-B163-D040F9971C9B}" dt="2020-03-23T04:44:50.769" v="542" actId="20577"/>
          <ac:spMkLst>
            <pc:docMk/>
            <pc:sldMk cId="153350407" sldId="377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44:59.117" v="543"/>
          <ac:spMkLst>
            <pc:docMk/>
            <pc:sldMk cId="153350407" sldId="377"/>
            <ac:spMk id="4" creationId="{00000000-0000-0000-0000-000000000000}"/>
          </ac:spMkLst>
        </pc:spChg>
        <pc:spChg chg="add mod">
          <ac:chgData name="Schulfer, Gretchen" userId="c352446a-8589-4ce1-8481-211528268116" providerId="ADAL" clId="{721808D4-8791-4D6C-B163-D040F9971C9B}" dt="2020-03-23T04:44:40.473" v="528"/>
          <ac:spMkLst>
            <pc:docMk/>
            <pc:sldMk cId="153350407" sldId="377"/>
            <ac:spMk id="6" creationId="{5ACB91DC-28DD-403A-BE1B-01B487B1D00C}"/>
          </ac:spMkLst>
        </pc:spChg>
        <pc:spChg chg="add mod">
          <ac:chgData name="Schulfer, Gretchen" userId="c352446a-8589-4ce1-8481-211528268116" providerId="ADAL" clId="{721808D4-8791-4D6C-B163-D040F9971C9B}" dt="2020-03-23T04:44:40.473" v="528"/>
          <ac:spMkLst>
            <pc:docMk/>
            <pc:sldMk cId="153350407" sldId="377"/>
            <ac:spMk id="7" creationId="{4FDEB82C-DA9D-499B-B2F7-0452CC0D47D0}"/>
          </ac:spMkLst>
        </pc:spChg>
        <pc:spChg chg="add mod">
          <ac:chgData name="Schulfer, Gretchen" userId="c352446a-8589-4ce1-8481-211528268116" providerId="ADAL" clId="{721808D4-8791-4D6C-B163-D040F9971C9B}" dt="2020-03-23T04:44:40.473" v="528"/>
          <ac:spMkLst>
            <pc:docMk/>
            <pc:sldMk cId="153350407" sldId="377"/>
            <ac:spMk id="8" creationId="{6B0F898E-E523-4433-BCC5-FFFD88317C07}"/>
          </ac:spMkLst>
        </pc:spChg>
        <pc:spChg chg="add mod">
          <ac:chgData name="Schulfer, Gretchen" userId="c352446a-8589-4ce1-8481-211528268116" providerId="ADAL" clId="{721808D4-8791-4D6C-B163-D040F9971C9B}" dt="2020-03-23T04:44:40.473" v="528"/>
          <ac:spMkLst>
            <pc:docMk/>
            <pc:sldMk cId="153350407" sldId="377"/>
            <ac:spMk id="9" creationId="{D78BE4C5-49F2-4DB3-9332-AD2D846E5FE7}"/>
          </ac:spMkLst>
        </pc:spChg>
        <pc:spChg chg="del">
          <ac:chgData name="Schulfer, Gretchen" userId="c352446a-8589-4ce1-8481-211528268116" providerId="ADAL" clId="{721808D4-8791-4D6C-B163-D040F9971C9B}" dt="2020-03-23T04:44:40.473" v="528"/>
          <ac:spMkLst>
            <pc:docMk/>
            <pc:sldMk cId="153350407" sldId="377"/>
            <ac:spMk id="32" creationId="{00000000-0000-0000-0000-000000000000}"/>
          </ac:spMkLst>
        </pc:spChg>
        <pc:spChg chg="del">
          <ac:chgData name="Schulfer, Gretchen" userId="c352446a-8589-4ce1-8481-211528268116" providerId="ADAL" clId="{721808D4-8791-4D6C-B163-D040F9971C9B}" dt="2020-03-23T04:44:40.473" v="528"/>
          <ac:spMkLst>
            <pc:docMk/>
            <pc:sldMk cId="153350407" sldId="377"/>
            <ac:spMk id="33" creationId="{00000000-0000-0000-0000-000000000000}"/>
          </ac:spMkLst>
        </pc:spChg>
        <pc:spChg chg="del">
          <ac:chgData name="Schulfer, Gretchen" userId="c352446a-8589-4ce1-8481-211528268116" providerId="ADAL" clId="{721808D4-8791-4D6C-B163-D040F9971C9B}" dt="2020-03-23T04:44:40.473" v="528"/>
          <ac:spMkLst>
            <pc:docMk/>
            <pc:sldMk cId="153350407" sldId="377"/>
            <ac:spMk id="34" creationId="{00000000-0000-0000-0000-000000000000}"/>
          </ac:spMkLst>
        </pc:spChg>
        <pc:spChg chg="del">
          <ac:chgData name="Schulfer, Gretchen" userId="c352446a-8589-4ce1-8481-211528268116" providerId="ADAL" clId="{721808D4-8791-4D6C-B163-D040F9971C9B}" dt="2020-03-23T04:44:40.473" v="528"/>
          <ac:spMkLst>
            <pc:docMk/>
            <pc:sldMk cId="153350407" sldId="377"/>
            <ac:spMk id="35" creationId="{00000000-0000-0000-0000-000000000000}"/>
          </ac:spMkLst>
        </pc:spChg>
      </pc:sldChg>
      <pc:sldChg chg="modSp">
        <pc:chgData name="Schulfer, Gretchen" userId="c352446a-8589-4ce1-8481-211528268116" providerId="ADAL" clId="{721808D4-8791-4D6C-B163-D040F9971C9B}" dt="2020-03-23T21:11:57.964" v="1262" actId="208"/>
        <pc:sldMkLst>
          <pc:docMk/>
          <pc:sldMk cId="3657818877" sldId="379"/>
        </pc:sldMkLst>
        <pc:cxnChg chg="mod">
          <ac:chgData name="Schulfer, Gretchen" userId="c352446a-8589-4ce1-8481-211528268116" providerId="ADAL" clId="{721808D4-8791-4D6C-B163-D040F9971C9B}" dt="2020-03-23T21:11:57.964" v="1262" actId="208"/>
          <ac:cxnSpMkLst>
            <pc:docMk/>
            <pc:sldMk cId="3657818877" sldId="379"/>
            <ac:cxnSpMk id="12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21:11:57.964" v="1262" actId="208"/>
          <ac:cxnSpMkLst>
            <pc:docMk/>
            <pc:sldMk cId="3657818877" sldId="379"/>
            <ac:cxnSpMk id="53" creationId="{00000000-0000-0000-0000-000000000000}"/>
          </ac:cxnSpMkLst>
        </pc:cxnChg>
      </pc:sldChg>
      <pc:sldChg chg="modSp">
        <pc:chgData name="Schulfer, Gretchen" userId="c352446a-8589-4ce1-8481-211528268116" providerId="ADAL" clId="{721808D4-8791-4D6C-B163-D040F9971C9B}" dt="2020-03-23T07:07:34.495" v="1009" actId="208"/>
        <pc:sldMkLst>
          <pc:docMk/>
          <pc:sldMk cId="703598829" sldId="380"/>
        </pc:sldMkLst>
        <pc:cxnChg chg="mod">
          <ac:chgData name="Schulfer, Gretchen" userId="c352446a-8589-4ce1-8481-211528268116" providerId="ADAL" clId="{721808D4-8791-4D6C-B163-D040F9971C9B}" dt="2020-03-23T07:06:55.437" v="999" actId="208"/>
          <ac:cxnSpMkLst>
            <pc:docMk/>
            <pc:sldMk cId="703598829" sldId="380"/>
            <ac:cxnSpMk id="25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07:07:06.428" v="1002" actId="208"/>
          <ac:cxnSpMkLst>
            <pc:docMk/>
            <pc:sldMk cId="703598829" sldId="380"/>
            <ac:cxnSpMk id="45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07:07:13.509" v="1004" actId="208"/>
          <ac:cxnSpMkLst>
            <pc:docMk/>
            <pc:sldMk cId="703598829" sldId="380"/>
            <ac:cxnSpMk id="46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07:07:21.613" v="1006" actId="208"/>
          <ac:cxnSpMkLst>
            <pc:docMk/>
            <pc:sldMk cId="703598829" sldId="380"/>
            <ac:cxnSpMk id="47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07:07:30.747" v="1008" actId="208"/>
          <ac:cxnSpMkLst>
            <pc:docMk/>
            <pc:sldMk cId="703598829" sldId="380"/>
            <ac:cxnSpMk id="48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07:07:34.495" v="1009" actId="208"/>
          <ac:cxnSpMkLst>
            <pc:docMk/>
            <pc:sldMk cId="703598829" sldId="380"/>
            <ac:cxnSpMk id="49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07:06:47.154" v="997" actId="208"/>
          <ac:cxnSpMkLst>
            <pc:docMk/>
            <pc:sldMk cId="703598829" sldId="380"/>
            <ac:cxnSpMk id="614404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07:06:58.711" v="1000" actId="208"/>
          <ac:cxnSpMkLst>
            <pc:docMk/>
            <pc:sldMk cId="703598829" sldId="380"/>
            <ac:cxnSpMk id="614408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07:06:50.833" v="998" actId="208"/>
          <ac:cxnSpMkLst>
            <pc:docMk/>
            <pc:sldMk cId="703598829" sldId="380"/>
            <ac:cxnSpMk id="614410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07:07:10.286" v="1003" actId="208"/>
          <ac:cxnSpMkLst>
            <pc:docMk/>
            <pc:sldMk cId="703598829" sldId="380"/>
            <ac:cxnSpMk id="614412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07:07:02.602" v="1001" actId="208"/>
          <ac:cxnSpMkLst>
            <pc:docMk/>
            <pc:sldMk cId="703598829" sldId="380"/>
            <ac:cxnSpMk id="614414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07:07:18.213" v="1005" actId="208"/>
          <ac:cxnSpMkLst>
            <pc:docMk/>
            <pc:sldMk cId="703598829" sldId="380"/>
            <ac:cxnSpMk id="614416" creationId="{00000000-0000-0000-0000-000000000000}"/>
          </ac:cxnSpMkLst>
        </pc:cxnChg>
        <pc:cxnChg chg="mod">
          <ac:chgData name="Schulfer, Gretchen" userId="c352446a-8589-4ce1-8481-211528268116" providerId="ADAL" clId="{721808D4-8791-4D6C-B163-D040F9971C9B}" dt="2020-03-23T07:07:25.243" v="1007" actId="208"/>
          <ac:cxnSpMkLst>
            <pc:docMk/>
            <pc:sldMk cId="703598829" sldId="380"/>
            <ac:cxnSpMk id="614418" creationId="{00000000-0000-0000-0000-000000000000}"/>
          </ac:cxnSpMkLst>
        </pc:cxnChg>
      </pc:sldChg>
      <pc:sldChg chg="addSp delSp modSp">
        <pc:chgData name="Schulfer, Gretchen" userId="c352446a-8589-4ce1-8481-211528268116" providerId="ADAL" clId="{721808D4-8791-4D6C-B163-D040F9971C9B}" dt="2020-03-23T07:58:52.159" v="1135"/>
        <pc:sldMkLst>
          <pc:docMk/>
          <pc:sldMk cId="855736404" sldId="381"/>
        </pc:sldMkLst>
        <pc:spChg chg="add mod">
          <ac:chgData name="Schulfer, Gretchen" userId="c352446a-8589-4ce1-8481-211528268116" providerId="ADAL" clId="{721808D4-8791-4D6C-B163-D040F9971C9B}" dt="2020-03-23T04:45:21.655" v="544"/>
          <ac:spMkLst>
            <pc:docMk/>
            <pc:sldMk cId="855736404" sldId="381"/>
            <ac:spMk id="3" creationId="{E3941FA0-3C89-4508-A19D-26752BA46574}"/>
          </ac:spMkLst>
        </pc:spChg>
        <pc:spChg chg="add mod">
          <ac:chgData name="Schulfer, Gretchen" userId="c352446a-8589-4ce1-8481-211528268116" providerId="ADAL" clId="{721808D4-8791-4D6C-B163-D040F9971C9B}" dt="2020-03-23T04:45:21.655" v="544"/>
          <ac:spMkLst>
            <pc:docMk/>
            <pc:sldMk cId="855736404" sldId="381"/>
            <ac:spMk id="4" creationId="{19C71BAA-E6E5-4093-86E0-895E05983819}"/>
          </ac:spMkLst>
        </pc:spChg>
        <pc:spChg chg="mod">
          <ac:chgData name="Schulfer, Gretchen" userId="c352446a-8589-4ce1-8481-211528268116" providerId="ADAL" clId="{721808D4-8791-4D6C-B163-D040F9971C9B}" dt="2020-03-23T07:58:52.159" v="1135"/>
          <ac:spMkLst>
            <pc:docMk/>
            <pc:sldMk cId="855736404" sldId="381"/>
            <ac:spMk id="10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45:27.729" v="557" actId="20577"/>
          <ac:spMkLst>
            <pc:docMk/>
            <pc:sldMk cId="855736404" sldId="381"/>
            <ac:spMk id="11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46:10.114" v="584" actId="20577"/>
          <ac:spMkLst>
            <pc:docMk/>
            <pc:sldMk cId="855736404" sldId="381"/>
            <ac:spMk id="12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7:58:39.896" v="1134" actId="14100"/>
          <ac:spMkLst>
            <pc:docMk/>
            <pc:sldMk cId="855736404" sldId="381"/>
            <ac:spMk id="13" creationId="{00000000-0000-0000-0000-000000000000}"/>
          </ac:spMkLst>
        </pc:spChg>
        <pc:spChg chg="del">
          <ac:chgData name="Schulfer, Gretchen" userId="c352446a-8589-4ce1-8481-211528268116" providerId="ADAL" clId="{721808D4-8791-4D6C-B163-D040F9971C9B}" dt="2020-03-23T04:45:21.655" v="544"/>
          <ac:spMkLst>
            <pc:docMk/>
            <pc:sldMk cId="855736404" sldId="381"/>
            <ac:spMk id="19" creationId="{00000000-0000-0000-0000-000000000000}"/>
          </ac:spMkLst>
        </pc:spChg>
        <pc:spChg chg="del">
          <ac:chgData name="Schulfer, Gretchen" userId="c352446a-8589-4ce1-8481-211528268116" providerId="ADAL" clId="{721808D4-8791-4D6C-B163-D040F9971C9B}" dt="2020-03-23T04:45:21.655" v="544"/>
          <ac:spMkLst>
            <pc:docMk/>
            <pc:sldMk cId="855736404" sldId="381"/>
            <ac:spMk id="20" creationId="{00000000-0000-0000-0000-000000000000}"/>
          </ac:spMkLst>
        </pc:spChg>
      </pc:sldChg>
      <pc:sldChg chg="addSp delSp modSp">
        <pc:chgData name="Schulfer, Gretchen" userId="c352446a-8589-4ce1-8481-211528268116" providerId="ADAL" clId="{721808D4-8791-4D6C-B163-D040F9971C9B}" dt="2020-03-23T21:05:05.050" v="1257"/>
        <pc:sldMkLst>
          <pc:docMk/>
          <pc:sldMk cId="4033685715" sldId="382"/>
        </pc:sldMkLst>
        <pc:spChg chg="add del mod">
          <ac:chgData name="Schulfer, Gretchen" userId="c352446a-8589-4ce1-8481-211528268116" providerId="ADAL" clId="{721808D4-8791-4D6C-B163-D040F9971C9B}" dt="2020-03-23T08:00:25.463" v="1147"/>
          <ac:spMkLst>
            <pc:docMk/>
            <pc:sldMk cId="4033685715" sldId="382"/>
            <ac:spMk id="3" creationId="{EC1E5C97-B471-45A7-80A7-9960F81CAB34}"/>
          </ac:spMkLst>
        </pc:spChg>
        <pc:spChg chg="add del mod">
          <ac:chgData name="Schulfer, Gretchen" userId="c352446a-8589-4ce1-8481-211528268116" providerId="ADAL" clId="{721808D4-8791-4D6C-B163-D040F9971C9B}" dt="2020-03-23T08:00:25.463" v="1147"/>
          <ac:spMkLst>
            <pc:docMk/>
            <pc:sldMk cId="4033685715" sldId="382"/>
            <ac:spMk id="4" creationId="{4FBB52AE-2EA3-4590-80F5-EFFAC4249357}"/>
          </ac:spMkLst>
        </pc:spChg>
        <pc:spChg chg="add mod">
          <ac:chgData name="Schulfer, Gretchen" userId="c352446a-8589-4ce1-8481-211528268116" providerId="ADAL" clId="{721808D4-8791-4D6C-B163-D040F9971C9B}" dt="2020-03-23T21:05:05.050" v="1257"/>
          <ac:spMkLst>
            <pc:docMk/>
            <pc:sldMk cId="4033685715" sldId="382"/>
            <ac:spMk id="4" creationId="{8140BE18-664C-44E5-AE5C-398A0F2E2E6B}"/>
          </ac:spMkLst>
        </pc:spChg>
        <pc:spChg chg="add del mod">
          <ac:chgData name="Schulfer, Gretchen" userId="c352446a-8589-4ce1-8481-211528268116" providerId="ADAL" clId="{721808D4-8791-4D6C-B163-D040F9971C9B}" dt="2020-03-23T08:00:25.463" v="1147"/>
          <ac:spMkLst>
            <pc:docMk/>
            <pc:sldMk cId="4033685715" sldId="382"/>
            <ac:spMk id="5" creationId="{E230C601-960C-437D-8015-1FA4B00934FB}"/>
          </ac:spMkLst>
        </pc:spChg>
        <pc:spChg chg="add del mod">
          <ac:chgData name="Schulfer, Gretchen" userId="c352446a-8589-4ce1-8481-211528268116" providerId="ADAL" clId="{721808D4-8791-4D6C-B163-D040F9971C9B}" dt="2020-03-23T08:00:25.463" v="1147"/>
          <ac:spMkLst>
            <pc:docMk/>
            <pc:sldMk cId="4033685715" sldId="382"/>
            <ac:spMk id="6" creationId="{58A5B854-7FAC-4E70-8C19-72E89E3B40C0}"/>
          </ac:spMkLst>
        </pc:spChg>
        <pc:spChg chg="add del mod">
          <ac:chgData name="Schulfer, Gretchen" userId="c352446a-8589-4ce1-8481-211528268116" providerId="ADAL" clId="{721808D4-8791-4D6C-B163-D040F9971C9B}" dt="2020-03-23T08:00:14.272" v="1145" actId="478"/>
          <ac:spMkLst>
            <pc:docMk/>
            <pc:sldMk cId="4033685715" sldId="382"/>
            <ac:spMk id="8" creationId="{11EC56C1-F5C2-411C-ABE9-C1B0AFE871BC}"/>
          </ac:spMkLst>
        </pc:spChg>
        <pc:spChg chg="add del mod">
          <ac:chgData name="Schulfer, Gretchen" userId="c352446a-8589-4ce1-8481-211528268116" providerId="ADAL" clId="{721808D4-8791-4D6C-B163-D040F9971C9B}" dt="2020-03-23T08:06:24.672" v="1169"/>
          <ac:spMkLst>
            <pc:docMk/>
            <pc:sldMk cId="4033685715" sldId="382"/>
            <ac:spMk id="9" creationId="{7E9D41C2-BDBA-4F3A-B380-4EFBCCE6DF21}"/>
          </ac:spMkLst>
        </pc:spChg>
        <pc:spChg chg="add del mod">
          <ac:chgData name="Schulfer, Gretchen" userId="c352446a-8589-4ce1-8481-211528268116" providerId="ADAL" clId="{721808D4-8791-4D6C-B163-D040F9971C9B}" dt="2020-03-23T08:06:24.672" v="1169"/>
          <ac:spMkLst>
            <pc:docMk/>
            <pc:sldMk cId="4033685715" sldId="382"/>
            <ac:spMk id="10" creationId="{1674A3B6-9B6C-4298-94AA-39ACF98F96DB}"/>
          </ac:spMkLst>
        </pc:spChg>
        <pc:spChg chg="add del mod">
          <ac:chgData name="Schulfer, Gretchen" userId="c352446a-8589-4ce1-8481-211528268116" providerId="ADAL" clId="{721808D4-8791-4D6C-B163-D040F9971C9B}" dt="2020-03-23T08:06:24.672" v="1169"/>
          <ac:spMkLst>
            <pc:docMk/>
            <pc:sldMk cId="4033685715" sldId="382"/>
            <ac:spMk id="11" creationId="{C2FEF4AE-D66B-44DF-BEC0-91F3578D96B8}"/>
          </ac:spMkLst>
        </pc:spChg>
        <pc:spChg chg="mod">
          <ac:chgData name="Schulfer, Gretchen" userId="c352446a-8589-4ce1-8481-211528268116" providerId="ADAL" clId="{721808D4-8791-4D6C-B163-D040F9971C9B}" dt="2020-03-23T04:46:23.940" v="598" actId="20577"/>
          <ac:spMkLst>
            <pc:docMk/>
            <pc:sldMk cId="4033685715" sldId="382"/>
            <ac:spMk id="12" creationId="{00000000-0000-0000-0000-000000000000}"/>
          </ac:spMkLst>
        </pc:spChg>
        <pc:spChg chg="add del mod">
          <ac:chgData name="Schulfer, Gretchen" userId="c352446a-8589-4ce1-8481-211528268116" providerId="ADAL" clId="{721808D4-8791-4D6C-B163-D040F9971C9B}" dt="2020-03-23T08:06:24.672" v="1169"/>
          <ac:spMkLst>
            <pc:docMk/>
            <pc:sldMk cId="4033685715" sldId="382"/>
            <ac:spMk id="13" creationId="{BD7CDCF3-629B-41EB-9CBE-642FEED49738}"/>
          </ac:spMkLst>
        </pc:spChg>
        <pc:spChg chg="del">
          <ac:chgData name="Schulfer, Gretchen" userId="c352446a-8589-4ce1-8481-211528268116" providerId="ADAL" clId="{721808D4-8791-4D6C-B163-D040F9971C9B}" dt="2020-03-23T04:46:38.351" v="600"/>
          <ac:spMkLst>
            <pc:docMk/>
            <pc:sldMk cId="4033685715" sldId="382"/>
            <ac:spMk id="14" creationId="{00000000-0000-0000-0000-000000000000}"/>
          </ac:spMkLst>
        </pc:spChg>
        <pc:spChg chg="add mod">
          <ac:chgData name="Schulfer, Gretchen" userId="c352446a-8589-4ce1-8481-211528268116" providerId="ADAL" clId="{721808D4-8791-4D6C-B163-D040F9971C9B}" dt="2020-03-23T08:06:24.672" v="1169"/>
          <ac:spMkLst>
            <pc:docMk/>
            <pc:sldMk cId="4033685715" sldId="382"/>
            <ac:spMk id="14" creationId="{F4C9916A-C606-461E-8516-CEDDCCB4291F}"/>
          </ac:spMkLst>
        </pc:spChg>
        <pc:spChg chg="del">
          <ac:chgData name="Schulfer, Gretchen" userId="c352446a-8589-4ce1-8481-211528268116" providerId="ADAL" clId="{721808D4-8791-4D6C-B163-D040F9971C9B}" dt="2020-03-23T04:46:38.351" v="600"/>
          <ac:spMkLst>
            <pc:docMk/>
            <pc:sldMk cId="4033685715" sldId="382"/>
            <ac:spMk id="15" creationId="{00000000-0000-0000-0000-000000000000}"/>
          </ac:spMkLst>
        </pc:spChg>
        <pc:spChg chg="add mod">
          <ac:chgData name="Schulfer, Gretchen" userId="c352446a-8589-4ce1-8481-211528268116" providerId="ADAL" clId="{721808D4-8791-4D6C-B163-D040F9971C9B}" dt="2020-03-23T08:08:21.716" v="1174" actId="1076"/>
          <ac:spMkLst>
            <pc:docMk/>
            <pc:sldMk cId="4033685715" sldId="382"/>
            <ac:spMk id="15" creationId="{16AC7FA7-20C9-4961-9B8E-C1438038EDA2}"/>
          </ac:spMkLst>
        </pc:spChg>
        <pc:spChg chg="del">
          <ac:chgData name="Schulfer, Gretchen" userId="c352446a-8589-4ce1-8481-211528268116" providerId="ADAL" clId="{721808D4-8791-4D6C-B163-D040F9971C9B}" dt="2020-03-23T04:46:38.351" v="600"/>
          <ac:spMkLst>
            <pc:docMk/>
            <pc:sldMk cId="4033685715" sldId="382"/>
            <ac:spMk id="16" creationId="{00000000-0000-0000-0000-000000000000}"/>
          </ac:spMkLst>
        </pc:spChg>
        <pc:spChg chg="add mod">
          <ac:chgData name="Schulfer, Gretchen" userId="c352446a-8589-4ce1-8481-211528268116" providerId="ADAL" clId="{721808D4-8791-4D6C-B163-D040F9971C9B}" dt="2020-03-23T08:06:24.672" v="1169"/>
          <ac:spMkLst>
            <pc:docMk/>
            <pc:sldMk cId="4033685715" sldId="382"/>
            <ac:spMk id="16" creationId="{A833D6F8-552A-455A-A859-88C0562F14B5}"/>
          </ac:spMkLst>
        </pc:spChg>
        <pc:spChg chg="del mod">
          <ac:chgData name="Schulfer, Gretchen" userId="c352446a-8589-4ce1-8481-211528268116" providerId="ADAL" clId="{721808D4-8791-4D6C-B163-D040F9971C9B}" dt="2020-03-23T08:00:12.905" v="1144" actId="478"/>
          <ac:spMkLst>
            <pc:docMk/>
            <pc:sldMk cId="4033685715" sldId="382"/>
            <ac:spMk id="17" creationId="{00000000-0000-0000-0000-000000000000}"/>
          </ac:spMkLst>
        </pc:spChg>
        <pc:spChg chg="del">
          <ac:chgData name="Schulfer, Gretchen" userId="c352446a-8589-4ce1-8481-211528268116" providerId="ADAL" clId="{721808D4-8791-4D6C-B163-D040F9971C9B}" dt="2020-03-23T04:46:38.351" v="600"/>
          <ac:spMkLst>
            <pc:docMk/>
            <pc:sldMk cId="4033685715" sldId="382"/>
            <ac:spMk id="18" creationId="{00000000-0000-0000-0000-000000000000}"/>
          </ac:spMkLst>
        </pc:spChg>
        <pc:spChg chg="add mod">
          <ac:chgData name="Schulfer, Gretchen" userId="c352446a-8589-4ce1-8481-211528268116" providerId="ADAL" clId="{721808D4-8791-4D6C-B163-D040F9971C9B}" dt="2020-03-23T08:06:24.672" v="1169"/>
          <ac:spMkLst>
            <pc:docMk/>
            <pc:sldMk cId="4033685715" sldId="382"/>
            <ac:spMk id="18" creationId="{92269A25-36C8-438C-B59D-52017627131A}"/>
          </ac:spMkLst>
        </pc:spChg>
        <pc:spChg chg="add mod">
          <ac:chgData name="Schulfer, Gretchen" userId="c352446a-8589-4ce1-8481-211528268116" providerId="ADAL" clId="{721808D4-8791-4D6C-B163-D040F9971C9B}" dt="2020-03-23T08:06:24.672" v="1169"/>
          <ac:spMkLst>
            <pc:docMk/>
            <pc:sldMk cId="4033685715" sldId="382"/>
            <ac:spMk id="19" creationId="{30CE2E34-13C2-469D-9A43-A049B9FB057B}"/>
          </ac:spMkLst>
        </pc:spChg>
        <pc:spChg chg="del mod">
          <ac:chgData name="Schulfer, Gretchen" userId="c352446a-8589-4ce1-8481-211528268116" providerId="ADAL" clId="{721808D4-8791-4D6C-B163-D040F9971C9B}" dt="2020-03-23T21:05:02.553" v="1256" actId="478"/>
          <ac:spMkLst>
            <pc:docMk/>
            <pc:sldMk cId="4033685715" sldId="382"/>
            <ac:spMk id="45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8:09:18.655" v="1178" actId="1076"/>
          <ac:spMkLst>
            <pc:docMk/>
            <pc:sldMk cId="4033685715" sldId="382"/>
            <ac:spMk id="46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46:44.713" v="613" actId="20577"/>
          <ac:spMkLst>
            <pc:docMk/>
            <pc:sldMk cId="4033685715" sldId="382"/>
            <ac:spMk id="47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8:09:32.664" v="1179" actId="1076"/>
          <ac:spMkLst>
            <pc:docMk/>
            <pc:sldMk cId="4033685715" sldId="382"/>
            <ac:spMk id="48" creationId="{00000000-0000-0000-0000-000000000000}"/>
          </ac:spMkLst>
        </pc:spChg>
      </pc:sldChg>
      <pc:sldChg chg="modSp">
        <pc:chgData name="Schulfer, Gretchen" userId="c352446a-8589-4ce1-8481-211528268116" providerId="ADAL" clId="{721808D4-8791-4D6C-B163-D040F9971C9B}" dt="2020-03-23T21:05:26.457" v="1259" actId="20577"/>
        <pc:sldMkLst>
          <pc:docMk/>
          <pc:sldMk cId="2241692144" sldId="389"/>
        </pc:sldMkLst>
        <pc:spChg chg="mod">
          <ac:chgData name="Schulfer, Gretchen" userId="c352446a-8589-4ce1-8481-211528268116" providerId="ADAL" clId="{721808D4-8791-4D6C-B163-D040F9971C9B}" dt="2020-03-23T21:05:26.457" v="1259" actId="20577"/>
          <ac:spMkLst>
            <pc:docMk/>
            <pc:sldMk cId="2241692144" sldId="389"/>
            <ac:spMk id="32" creationId="{11F8F3FF-5BCF-4B01-9310-7BF2990432FF}"/>
          </ac:spMkLst>
        </pc:spChg>
      </pc:sldChg>
      <pc:sldChg chg="modSp">
        <pc:chgData name="Schulfer, Gretchen" userId="c352446a-8589-4ce1-8481-211528268116" providerId="ADAL" clId="{721808D4-8791-4D6C-B163-D040F9971C9B}" dt="2020-03-23T21:12:24.682" v="1263" actId="20577"/>
        <pc:sldMkLst>
          <pc:docMk/>
          <pc:sldMk cId="2394809977" sldId="394"/>
        </pc:sldMkLst>
        <pc:spChg chg="mod">
          <ac:chgData name="Schulfer, Gretchen" userId="c352446a-8589-4ce1-8481-211528268116" providerId="ADAL" clId="{721808D4-8791-4D6C-B163-D040F9971C9B}" dt="2020-03-23T21:12:24.682" v="1263" actId="20577"/>
          <ac:spMkLst>
            <pc:docMk/>
            <pc:sldMk cId="2394809977" sldId="394"/>
            <ac:spMk id="9" creationId="{00000000-0000-0000-0000-000000000000}"/>
          </ac:spMkLst>
        </pc:spChg>
      </pc:sldChg>
      <pc:sldChg chg="modSp">
        <pc:chgData name="Schulfer, Gretchen" userId="c352446a-8589-4ce1-8481-211528268116" providerId="ADAL" clId="{721808D4-8791-4D6C-B163-D040F9971C9B}" dt="2020-03-23T04:50:10.517" v="664" actId="2711"/>
        <pc:sldMkLst>
          <pc:docMk/>
          <pc:sldMk cId="1794631516" sldId="416"/>
        </pc:sldMkLst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286" creationId="{E64520F6-4555-4C0E-9AEF-5B0ED2E0904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287" creationId="{B71FB8E0-3880-4FBF-9BDF-511BB40829D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288" creationId="{F14B5EE5-BCF1-4E98-80AE-26F94E1CB9F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289" creationId="{BCA7DF3D-BD0C-4D96-8E51-E1278247B12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28" creationId="{A4F5DAEF-4C0D-4742-8EA7-57425D4EF2F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29" creationId="{B7887E07-2919-460C-9D85-EA881D6C0315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30" creationId="{A287DCDA-DAB6-4061-8677-25BA2D7A76B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31" creationId="{8FA6BE8A-93D2-4764-870D-DCFBB1F8257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68" creationId="{DA2D649A-00B5-41E0-AC2E-0C3660FFB90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69" creationId="{2835AE9E-0948-4DD7-9192-A826B5532229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70" creationId="{B8974900-1C2E-4D14-B4A0-1DD034C214E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71" creationId="{ECCC0F66-6B28-4EF7-9425-4519AAB7901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72" creationId="{FF2C4314-1FD0-4D94-973D-F90D7C3B2D2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73" creationId="{6731A412-7052-4F19-8119-5A8D5DCAFF3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74" creationId="{985435E4-4177-4219-9188-4BA8666239D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75" creationId="{304389C5-1921-4DE9-A745-492E3AC82455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76" creationId="{C0ADAB8A-8179-4C7A-95B0-4FC6E8CECC39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77" creationId="{957F3E02-2A5D-4FCE-BEB4-F763F61998F2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78" creationId="{344AFD07-439F-4E7D-8295-139069D2E5B2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79" creationId="{E8B80B66-BD50-4373-8D30-686268B8064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80" creationId="{DB04AE99-DF16-4AD3-BCF7-BA560AFF32F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81" creationId="{8C063F38-59D8-4FCE-9171-3B914308DF2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82" creationId="{0D5D8E85-E3CB-4DE3-9E8E-0DEE25A8BEA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83" creationId="{CC49EB71-E951-483D-B799-9C46D1B8108C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84" creationId="{D2922D04-903B-47DD-BCC7-6C6FABE27B12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85" creationId="{B824E234-7E49-4B12-B8BA-3E010EE2476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86" creationId="{3834F8AD-2A8B-40D3-80EB-E67C1701C74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87" creationId="{FE718395-39F6-4794-86D2-8B5B21A1B0E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88" creationId="{0B2AE23D-81FE-4136-AD5D-C9483994025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89" creationId="{41ECDC07-4914-4D3E-BDCD-5DEC820516C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90" creationId="{94B8E027-978A-44DC-94B9-68634D0EF851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91" creationId="{97C2B3ED-6419-4810-8A76-C9FC0F4E0F3A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93" creationId="{BC74B2D3-3CC9-47D9-A2D5-DC8EEC46B9A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94" creationId="{F0F49293-8C22-4468-994F-275869F942FC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96" creationId="{22B68382-B312-4C0F-AE86-A45A27F2D33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97" creationId="{3BA6234A-CE4D-4C28-9DC1-0959030463A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399" creationId="{E75E47BB-6197-419D-A5B1-553CD7007DA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00" creationId="{027A41F1-C00E-4F2E-BF06-78E934B323F2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01" creationId="{78AFEB6A-87D8-4327-A0DF-CB8F5EF5376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03" creationId="{397D3A73-03CC-4BCD-B45B-7901792D438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04" creationId="{CC77EDCE-0772-458C-A4C4-F52324F4990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05" creationId="{689A395C-0267-4D4B-B1ED-B2B21FA4CB2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06" creationId="{44DFB3C4-42BA-46CF-92B7-6B6DDD9774A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08" creationId="{4F513C87-3107-4B49-828B-F9EB3E4ED13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09" creationId="{41A42674-29E8-4FB1-9803-943C669973B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10" creationId="{1B6607B0-B057-4767-A4D0-403D7A6CA9E1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12" creationId="{C0238D6E-18EF-41FB-B5B4-0E7870B7610B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13" creationId="{3E9C8A6F-ACD2-4D32-A341-AA7EB4936DC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14" creationId="{489AACDA-4B1D-4BF5-84BB-F67FD9B76D01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15" creationId="{9DB6703D-8959-4F09-ABE7-FBE0ED732EA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16" creationId="{1E40AC01-3792-4E7F-8C3E-1D4233F963A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17" creationId="{561183C2-2CBE-493C-801C-5433218DA912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19" creationId="{40C7E478-6DAB-4AF5-92EE-C90AF44713C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20" creationId="{38D00208-D411-4D3B-A7FA-67643384F58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21" creationId="{D3E254D2-E294-404B-8DD2-2A2C8333C49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25" creationId="{329EBF17-6AFF-4D91-AB20-56059856195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26" creationId="{4466F518-EB9B-4D71-BF00-DBA0D58A385C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28" creationId="{9190DE0B-8E15-456D-A1D6-A72D06ECE3F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31" creationId="{C9967790-88E5-4C5E-932D-F3719A33C88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32" creationId="{EC9D6E3E-7183-4F34-A459-5F03D8078A3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33" creationId="{D1B99C43-2CC6-4B00-AB16-B2DB63CCB13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34" creationId="{FACFF263-1729-475C-98A9-69C8777517C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36" creationId="{EC60D2A5-FDEA-4B54-BC13-843C8EE716F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37" creationId="{D7D9FEF4-BA17-4AFE-8C5B-647994ACA19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39" creationId="{7B77875C-339E-4D70-A92B-CF651FB1460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40" creationId="{F74B0C4A-86D2-4E05-8B81-E2C53B3366F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41" creationId="{A9794934-6157-40DA-BE58-51BAEEA23B8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43" creationId="{A0FB1115-FD6A-4A47-99F7-4F937B5C1C5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44" creationId="{9EC6DAF7-4B7D-46EF-BABE-36A934ED3B5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46" creationId="{AC1C6F55-BE20-47F0-8BD3-93B57B60BE0B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47" creationId="{E6EAB77B-77F6-4D0F-B578-11C6D470CA7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48" creationId="{B3885718-D3BE-4206-BDE9-9B6A660318D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50" creationId="{FE8AE30A-5B03-4A06-B74E-28C8DED7D7B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51" creationId="{EBB7EAAA-3087-4A0A-970B-C3C518EEA89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53" creationId="{B832EEF6-47C8-44AA-A520-6B6B29F84F2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54" creationId="{D37CBBFB-0533-42BF-8AAE-324C9F827CB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56" creationId="{3994F3CC-BD56-408D-A363-B550E49988A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57" creationId="{6024CDF4-3561-43EF-9CFA-8AC60DD5BA9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58" creationId="{44E4AA57-5E95-4A7F-ABE8-6AE1D0AADFF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59" creationId="{8F09F322-A143-4ED4-9C1A-90FF158ED21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60" creationId="{764C3A16-7E7C-4550-BB4C-FF2C6858C1D1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61" creationId="{1AFCE8E5-659A-404B-B323-6562F7E275C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62" creationId="{35760296-0AB4-4F81-973E-B0137C848F99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63" creationId="{57DF6DAD-E666-449C-9995-0E1833EDEDB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64" creationId="{F6BFD249-A8AD-44C7-ADB8-21F54843C47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65" creationId="{8D08F6AA-794E-4C57-978F-BC073E1D0A8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67" creationId="{7E3173C5-57EF-469C-B919-AF068E1D559B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68" creationId="{DCB06F49-E914-46D2-9422-C998F10DF42B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69" creationId="{67237873-064D-49F5-8029-89220C2A7E8A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71" creationId="{B019BB1B-9853-4577-8818-F6BA8D701FB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73" creationId="{91158B02-4543-4AC6-8B64-12AC1917C00C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74" creationId="{F2EEFF44-D19A-4FF1-AF4E-2B36D8B0EE8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82" creationId="{0B384009-2FEF-498D-8186-342BC18C865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83" creationId="{96BDA260-E411-49A4-9D61-D2413DC0B2B1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84" creationId="{D589DA1A-AA5B-4B91-A098-F2AA7619137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86" creationId="{69CC13B3-7582-4DD1-BC15-DCDB4F5D616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87" creationId="{6EED559B-7C60-48A5-A5E8-DB6AB9CA608C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89" creationId="{5CB8E1E6-C2AB-453E-BE2C-C467B24CD49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90" creationId="{4B98449D-E229-4815-B47D-94CB07753311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92" creationId="{0A6C8959-49E3-49CF-B333-3D030075C7DC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93" creationId="{FBD12368-2265-46CA-A12D-042CA785C47A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94" creationId="{4CE4C591-9E7F-45A7-87B9-72FA41D19B7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95" creationId="{D68CF14E-291C-4593-9AC6-4B2A5A4654FB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97" creationId="{B08FCF87-A882-4578-AAD9-DBA108C0EC95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98" creationId="{670BBD53-E0DD-4B32-B7F9-4B5A4240DCE5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499" creationId="{3FE23894-BAA0-4738-91A6-E1D158C13F21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01" creationId="{248F01B3-6195-4788-8EF8-E3F9462B65B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02" creationId="{967611D5-15E3-4691-91E9-33BC4E4C73D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03" creationId="{FC31956D-CF56-4C38-9414-7A3A35A47812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04" creationId="{09C6A15A-06A7-4DC1-9502-4599EEA37C3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05" creationId="{FEED85E0-37CF-46C9-9A68-F3E6C676FCD2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06" creationId="{A7A73143-05E0-48CA-BD8C-5DBA3DF90751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08" creationId="{F5ECF08A-499F-4ACE-B81B-32C57A52DE5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09" creationId="{46DD91C4-DDCD-4966-B8AA-321EA4B6333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10" creationId="{9920DF9A-5043-4800-805F-AAA1D155489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12" creationId="{30E5EA34-1038-48D7-8EC4-B631232262C2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13" creationId="{94762EA3-646F-45CF-814A-FFDBCC61599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14" creationId="{2000B287-7C6F-4FFA-B0F1-5660D8BF695A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16" creationId="{D97A1BE2-A4F2-4656-8311-AFCEEE21A5C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17" creationId="{A9B4DED5-E321-4D70-8930-8E59AE97FA6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19" creationId="{69D41469-247B-404C-BD51-323EC849A67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20" creationId="{8799B3D3-8B7C-4F4C-9B2D-DB774735AF65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21" creationId="{FE9C6224-7933-4D01-8DC2-5EF7EDA0C74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32" creationId="{73499546-F8FF-4032-B792-93173FBBD1D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34" creationId="{0FB6AD99-8DE8-4AA8-865C-51461ED0587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35" creationId="{5452A852-EE33-4B6D-9B96-DA3A53422E7C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36" creationId="{C4A4B4A2-9F75-4703-976C-56E5B273743C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38" creationId="{A1ECEA58-3A9C-4CFB-920C-085058293E9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39" creationId="{77A743C1-E423-4FCB-A721-826539AB80BA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40" creationId="{1ADAC880-6BE5-4951-A865-D4446FF28E09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41" creationId="{D01F7F8E-0DD7-4916-83DB-BC46BE69A2E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43" creationId="{060C33B5-2C0B-4D1E-986D-FB290DBD41C2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44" creationId="{CB344FEE-627F-4C32-B5EB-AD620A8171A9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45" creationId="{EC4D8D9E-9AEE-4735-AAF7-FAD9B8CBE89C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47" creationId="{EED289AC-BCAF-4C99-8D56-915A540B552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48" creationId="{F2BC9957-9692-4C4E-BCA3-0E04F6FFD24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50" creationId="{4B2E7364-631C-4D51-945B-A944003F87E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51" creationId="{B54464EB-68A7-4A1E-8DDE-0D08682C0BD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53" creationId="{6E3DD5D3-C113-46BD-BC37-9FBBC9A28D7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54" creationId="{C489D58D-C574-4F9C-B393-0BF750D8A8C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55" creationId="{77D402DD-32A7-4691-B0EF-9C75D56DBD1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57" creationId="{FB29B78C-6EAC-4949-BD31-20B3B92A710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58" creationId="{316D6ECE-B7C7-4FCE-83A6-62A70846A32A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59" creationId="{C72516FB-3766-483E-A427-50401150F58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60" creationId="{E0D426B0-4417-4EAA-9C4B-CBB045CD7B2C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62" creationId="{47FCFFE8-44C1-4B22-9EA1-CC9BDA58B042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63" creationId="{579E7BF3-BB86-4E92-929F-B8F172DE03FA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65" creationId="{C87AA522-55B7-4E0A-B022-D63CBEC42DD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66" creationId="{054592C5-D0C0-4B41-9BA0-B4FD585A83A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68" creationId="{DA4C3B5B-B752-4F80-8E1B-45C5CDF7A93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69" creationId="{A16AF9E6-68D4-4835-84A0-6922AB2BA125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70" creationId="{865272AA-8391-4A07-B4C5-4A23962187D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72" creationId="{7AD9ED70-E102-4A28-AC0B-3B3AA3F60B6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73" creationId="{C5C108C7-552A-475B-9FE1-ADB56C40B85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74" creationId="{462C6EE9-6465-4FCF-9DB2-92517BB1F26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76" creationId="{081C3B08-724C-4C83-B1A3-42CEBA18BC9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77" creationId="{4A4AA742-80AD-49CD-B49F-7304C39468F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78" creationId="{924B3FB3-10A6-45B8-B408-BA6D03661569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79" creationId="{12CA9607-62C0-46E7-9F3D-8A87AFBE583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80" creationId="{7F9FDCC8-1522-4666-9803-623FC544EB69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81" creationId="{74D9DB16-7E24-4195-B17C-2A22547D4825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83" creationId="{1CF2FACA-83F1-4AC4-BC1D-0D4E8AC15F9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84" creationId="{7A5177F0-C64F-4EE0-972F-2672F062EC6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85" creationId="{26CC2272-3401-4EA9-9BA6-0AFB048D1D2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87" creationId="{93206051-D932-488C-AF3C-FAEBA1D9A31C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88" creationId="{A66B1EB4-4EC0-42CD-9638-60CFD2EFCD2A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89" creationId="{866DADA4-056A-4CD6-AEEC-1F564326368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90" creationId="{1D41ADF7-EC1D-42C1-B85E-7431801AB291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92" creationId="{A030A101-0EF6-45B9-8435-532D2AD6E40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93" creationId="{53625B11-E25F-4F96-A13B-91F9093726A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94" creationId="{AD44D1B9-9B84-4BAD-9BB8-F9352C45112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95" creationId="{B66C41FA-CF6D-4B78-9D92-5D2BABAEB23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96" creationId="{0554977F-3DB2-4A1B-B978-65BEE4BBB93B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97" creationId="{5860764A-9A70-4049-BB4C-7A782F1825B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98" creationId="{E3EE4D1B-77D8-4191-AFE9-C463D8BDECBC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599" creationId="{E9498688-85FC-4499-8953-5B34EDB9ACF1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01" creationId="{C606AF83-6C7A-4BAD-BBE7-03FD1123D1A2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02" creationId="{291F0A06-189B-42B4-86A2-B6138860CD7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04" creationId="{207334FF-BDBD-4851-A2BE-996FBDA989A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05" creationId="{4673B3BE-A2B8-4FC5-8046-8F3F522C71B1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06" creationId="{D15AEFF6-75BC-4F35-A06E-18DDEC4C7C7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07" creationId="{65CB6504-307E-4BE4-947C-AA33E5ABFE1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08" creationId="{919D633A-0080-4926-B03C-1D8991B36CC9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09" creationId="{8782109A-C25F-4C48-B37C-855B7174BE55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10" creationId="{0960F8B7-8F15-4B6E-A124-A29B4002DAC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12" creationId="{8A97F893-38CA-46E6-BA54-0CD8211428C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13" creationId="{F80843FC-B573-4F2C-8BE9-D91B79182B55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14" creationId="{41F03B83-3AA6-436B-B027-F936D1B3AD9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16" creationId="{166E2B33-13C2-44BA-9457-A25D07F888A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17" creationId="{1D53E595-7623-4C9E-9444-6C56FA93274D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18" creationId="{6A6F3877-0B8A-4719-A512-966A7742808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19" creationId="{8B8388CB-C831-4E86-8BFD-C1684D59D5D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21" creationId="{4D3F41F2-8246-4EEE-8AA5-AE709E0EA752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22" creationId="{45F88A90-C860-421C-B51F-33F298A692DE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23" creationId="{CD3BC9A6-CF62-43F5-9893-74BCFD53BBB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25" creationId="{331CB019-D2EB-441D-87D9-9EF0A9664A3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26" creationId="{4B6EEC1B-DB80-4AC6-9480-5750A3165D69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27" creationId="{09F4EBFA-64A7-42A2-93B1-19BB01B58859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31" creationId="{D1B0A318-A34B-42B3-9654-6CC4E14BD9BA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32" creationId="{9EF1B5AA-D6EC-49DC-B3C6-6B6A74C53EE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33" creationId="{69BBE14A-FA72-41EE-A4DD-E8E27DA5490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34" creationId="{740A7777-3F6A-4D83-817E-F136DC9C4AB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35" creationId="{3D20AA9D-631C-4101-BDC2-4A4051D475F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37" creationId="{DA48DE05-E950-4D59-BAA9-8D5FF2AD09CA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38" creationId="{04B8CB55-8AF1-4DD5-81EF-2345D87F5B3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39" creationId="{264C0E2C-978A-479E-8AF8-1452DF3A3D8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41" creationId="{C5297F7D-EB98-42DA-A077-B9BD67415D34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42" creationId="{14EE4728-C8CE-4B31-9510-5422E8BFA9A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43" creationId="{1A33B4B4-29BA-4341-94F6-5B5297953FA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44" creationId="{01DBBB3E-9F50-4B67-B476-0F36D0F5072B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46" creationId="{4B3E2905-40C3-4488-8844-EEDA7CF2AF6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47" creationId="{7429FB13-D61B-4956-84F4-1273BF978435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48" creationId="{7C384397-629F-48A0-815E-10241161BF67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50" creationId="{8916CF56-D39D-444D-BDD9-2C2A05538EDF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51" creationId="{D6A39914-59A2-4C0A-8728-702BB2405E93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52" creationId="{62142580-DD86-490C-BB56-AE8C072418C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53" creationId="{AB671F33-4A2E-4B2D-B5E0-15F03D56D0B8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54" creationId="{E283CC69-4496-4BB6-9552-C2852B120F66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55" creationId="{1CE9F768-0B26-4706-984F-93F892B5FD4A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56" creationId="{B59B0516-8688-4704-AF60-EC4FAB90693A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57" creationId="{AE878C60-40EA-4105-A381-2B4E2F9DDCF0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59" creationId="{4C8C0C52-A6C2-4CBB-A90E-8F91966CD545}"/>
          </ac:spMkLst>
        </pc:spChg>
        <pc:spChg chg="mod">
          <ac:chgData name="Schulfer, Gretchen" userId="c352446a-8589-4ce1-8481-211528268116" providerId="ADAL" clId="{721808D4-8791-4D6C-B163-D040F9971C9B}" dt="2020-03-23T04:50:10.517" v="664" actId="2711"/>
          <ac:spMkLst>
            <pc:docMk/>
            <pc:sldMk cId="1794631516" sldId="416"/>
            <ac:spMk id="660" creationId="{8B489A07-19FB-4A6A-96A7-0E95F68ED234}"/>
          </ac:spMkLst>
        </pc:spChg>
      </pc:sldChg>
      <pc:sldChg chg="modSp">
        <pc:chgData name="Schulfer, Gretchen" userId="c352446a-8589-4ce1-8481-211528268116" providerId="ADAL" clId="{721808D4-8791-4D6C-B163-D040F9971C9B}" dt="2020-03-23T04:50:20.641" v="666" actId="2711"/>
        <pc:sldMkLst>
          <pc:docMk/>
          <pc:sldMk cId="2654612190" sldId="417"/>
        </pc:sldMkLst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46" creationId="{83879010-9377-482A-B6A0-4ECE0BA4FE5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47" creationId="{39489E9E-A104-4894-8487-7EACE4A27CEF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48" creationId="{B7457F80-66E3-4A8E-99DD-8205A60B79FF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49" creationId="{457D1E07-2358-47BC-A94C-EE0F0C8BA5C9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50" creationId="{0453ED8C-BB8A-448C-940F-9BB42213B45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51" creationId="{7EE71CE3-DFB6-429E-9E55-9139B1DCB2D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52" creationId="{3118A63A-0346-46CF-BD3F-CD650650617A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53" creationId="{BE24C8DA-920A-462C-BFC4-76A7DB307A9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54" creationId="{B374243E-8CF8-42A9-A2D3-F3C0B914AF2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55" creationId="{77F53622-29E0-4663-9D3F-80F410C2A60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56" creationId="{A8E8275C-A50B-44B5-A568-8E2DA472622A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58" creationId="{232CA663-CD11-4217-98E9-922B3242E30B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59" creationId="{8D4BFE9C-CBB8-4301-A0F8-ED047ABDB013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60" creationId="{F8F8968D-F885-4F0E-843B-D2097A00750F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82" creationId="{F0085F4F-A943-442D-AC3E-25BD89F98DF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83" creationId="{6BFE4441-2555-405E-B975-EC3080E9BD1B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84" creationId="{283F8144-877F-4366-A0BF-555200B40BCB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85" creationId="{2691F87E-8260-45F0-AAE6-02B19E9CDD3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92" creationId="{4ED8641A-9E4F-411A-B5DC-A2C0A183A00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93" creationId="{7EBCFD77-9FA5-4BC4-B9A6-7CCA6664FC3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94" creationId="{E0C9EC9C-4025-4ED8-B095-A19C2EDD9BF2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95" creationId="{300CD88C-6CBF-49D6-BB0C-91C3138BD85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96" creationId="{8F8614E8-E5B7-4705-9DE6-BB567E65D51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97" creationId="{8C3E3E2F-D957-411C-97BB-9565BEB13AD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98" creationId="{89BBB720-24DE-442A-8F4C-6B525DF7EE4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299" creationId="{34A1E506-781C-433E-8B97-E866B481383A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70" creationId="{F273B45E-B52D-47D9-AAEA-FBB597E75ED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71" creationId="{03075216-DEF7-42DC-9DBB-44143EC427C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72" creationId="{0F2850AA-8B97-475D-B99D-99D151C2A59B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73" creationId="{8E9684E3-2618-4F96-9B66-834C6DFAB65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75" creationId="{6311E47A-70AA-4986-8C3C-1A85CC033A39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76" creationId="{17BF6C1C-30B3-4783-AD0E-34A1504C5D9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77" creationId="{61612E63-F5F1-4944-93E5-704CFC1EBC2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79" creationId="{A769606E-F9E4-4CD3-8939-6E4907E4252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80" creationId="{F7C0512A-6EBB-4FCF-9590-1E7BCF7DC76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81" creationId="{3C88F838-2191-4E09-80F2-9EB648BD4AF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83" creationId="{A3D3431A-1A73-43B1-90C6-BA00E907366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84" creationId="{3049A356-04CE-437E-943D-BF3F204E434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85" creationId="{936320EE-EC95-43B5-8750-27309EA4760F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87" creationId="{DF55E866-51FF-4811-8098-2A0D59790E6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88" creationId="{39F9DDF8-E0FB-42A3-8FF2-DB8EEAA55F3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89" creationId="{DB628438-BCDD-4EBE-9909-71FAE4FBF9DD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90" creationId="{E0A28E22-26D0-47C0-8BF1-7ED7DCC79F9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91" creationId="{E9F4E678-1106-467C-8933-1B4FE4BC682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93" creationId="{9BD70FD8-2A1D-4F14-A6F3-10AAED7B4352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94" creationId="{5156F5C1-5C83-436F-8B5E-37DEDA506CC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95" creationId="{49A088C4-43F7-4E9D-AF6E-F6ACB6886C93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96" creationId="{4A406998-AB9D-4184-B701-753E07EF63D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97" creationId="{B2AA1661-EF4A-47CC-960F-DA571D23D91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399" creationId="{3802D05F-12C6-4116-B013-4A3A4DAB668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00" creationId="{0DD319A6-8D38-470B-AFB8-63741CDC9E0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01" creationId="{18A7B831-47C1-4E46-8EC4-FCFB5A9F82B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03" creationId="{549885C2-0EBE-4A97-979A-139A9D84621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04" creationId="{583471FE-56C6-4A66-9E1C-D9DA98084EF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05" creationId="{192FFA40-E054-41CB-AC99-0E2CFE43626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07" creationId="{5A07CED4-1CCE-4827-87FB-0225CA39993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08" creationId="{809EB93C-5727-4AE9-B963-09AF8D435F7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09" creationId="{7E68601C-5187-408F-B269-F86AB5A5956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10" creationId="{12A1471F-D647-45EA-A7C5-3678191E2F89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11" creationId="{AF647749-7692-4E04-8B58-701BA6B3003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12" creationId="{C2311D1F-5F79-42F9-80D7-A47EB89F207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13" creationId="{D2BE415F-CFB6-4F96-8637-D6C9DE0589C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15" creationId="{1C17AEE6-A28C-4F24-8514-29BE7B21551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16" creationId="{1A8F7E96-7C92-47E5-B0FB-209D008278C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17" creationId="{5D343722-8C9B-47E7-A6D3-A1E373C3CB5A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19" creationId="{7D05A0D6-4F91-4462-83AF-7CA2481EE40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20" creationId="{AB385991-7E90-46C8-9D70-151A1B14EB8D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21" creationId="{90684952-F44C-4175-99CF-7456427ADFB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31" creationId="{690A1D19-C64C-4BF1-BF86-F6F3466FDD8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32" creationId="{307BE79D-BBAE-4934-A358-EEE2C7887B8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33" creationId="{E49A63E8-8B75-4041-83F6-4B99587572D9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35" creationId="{25110A9E-3438-4D5A-BD15-28B11652A26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36" creationId="{C15B2EF3-BF1D-4974-AC48-E73A2895112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37" creationId="{02D9512D-7E0B-4956-8D4A-6FDFC9E3D4EA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39" creationId="{6CAE02BA-6423-49AB-9A7A-C63081E62B9F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40" creationId="{F800DE9B-925F-448E-9B45-8C24FCA6C72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42" creationId="{2E6E68CB-B967-4D19-A712-9AD4F340BB02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43" creationId="{449A6278-D528-47D6-852E-717DCBBCB0C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44" creationId="{A1B6E4F9-725C-45FD-8F77-AC008FBB710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45" creationId="{D4B3CAEE-C241-4E79-8FC5-EF205D82FAAD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47" creationId="{EEB8C514-2FE6-4814-B552-49C286096E3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48" creationId="{F6EB0076-BF01-4E4E-B3D6-0CDA7B01C5DF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49" creationId="{234DCD2C-54AD-4DB5-908D-498B85D6912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51" creationId="{0E6C3917-5B46-4218-BB80-C95267A2ACE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52" creationId="{ABEA6195-421A-41C9-A64F-A9C02680FDF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53" creationId="{6E6F28A2-18A7-4BFD-982A-C7B22EB85E1D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55" creationId="{23D9A708-6820-420D-8084-0229C76D519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56" creationId="{B21BD9C0-5E17-41ED-854F-2713F16F8B1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57" creationId="{85DA3B3D-41C1-430A-99FA-18DC74F0B5B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59" creationId="{13DFD802-C0E0-4DA4-B99B-3A32D4F18FF3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60" creationId="{708989C4-17CF-4ABF-9ABB-F038E51E9FA9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61" creationId="{E202DFEC-67D4-48FA-9225-5CED148C4B9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63" creationId="{F6435FAC-D912-41BD-BCBE-8DB04E8A16A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64" creationId="{E368CF2E-D763-4451-AC52-6FFC059547A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65" creationId="{E079ACA1-8DFA-4756-BE4E-E0314A533A7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67" creationId="{4B8ADCDB-AF2D-4482-87D7-4E39EC21CE6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68" creationId="{39B56394-89B6-4F9D-85B6-8F5683C8E7DA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69" creationId="{49EE0F7E-B8BD-4DAC-9D28-7EB12E13E26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71" creationId="{F80E342C-08EF-4998-AEE8-D34FA54EAF0F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72" creationId="{09E23818-5DED-4926-AD54-EA109A6324E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73" creationId="{74EF2529-5783-4C58-907E-76BD23D18CC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82" creationId="{3E7EA930-DBBB-436C-89CD-60E96B7F522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83" creationId="{4C2C0882-5BB1-4010-8DE2-E9E268DD86CD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85" creationId="{80DAE3C3-0F5F-4C35-9A64-522EB484637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86" creationId="{A9D51998-6E7E-4F0B-A118-B68A4F5849B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88" creationId="{27ABD4D7-3C81-4B71-B587-2969202C8E09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89" creationId="{CF1D9529-B30A-463B-B93C-E548FBC2BFA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91" creationId="{612DD4F0-DF81-474F-8666-684DB0A8C5EB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92" creationId="{C1D87380-B3CB-4A2C-8CD8-695D3664FDBD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93" creationId="{5D0C1F6E-58AC-44D4-AB82-27CEF1EBA42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95" creationId="{E445CCC5-EA5F-426B-9B7B-A38647BEE02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96" creationId="{886DA71B-27BE-4E81-A0F5-7344275D7A43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97" creationId="{8006966C-4A6C-438F-B9DE-8A522D482E2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499" creationId="{98D1E0ED-F1C8-47BB-B642-7DA4DB3FEDB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00" creationId="{DB37E7DA-E677-4D10-935B-6B015456445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01" creationId="{70B4D76B-6048-4716-B199-4F8D5E2B810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02" creationId="{D8EDD3D3-49A5-414E-9BD0-2C42B8A9862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03" creationId="{A3C836AC-53A9-464E-8E49-1414FD23B9BA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04" creationId="{65C53ED5-1D7E-41FE-B381-71609353417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05" creationId="{8910B0D6-559A-4804-BACD-268FD7C9683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07" creationId="{0BD53D16-32F2-4CA6-8FD8-A6F93142B62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08" creationId="{3B827653-C56F-44B6-AA2C-1289CDCC96BB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09" creationId="{10C27E37-20BC-4F4D-8036-87ABA2C33CC2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11" creationId="{6BDE44C8-FA42-4D3C-BC24-7F60E3076F2A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12" creationId="{DD6CD099-9B2B-4332-96C8-410AC11033D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13" creationId="{E08AE1C6-33D6-4FC9-A1C7-6DE83E84BDA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15" creationId="{A83E9306-7DCC-43C8-8AD6-4EA3EB7C667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16" creationId="{8661AFAE-87AD-421F-AB3E-090E210AE4B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17" creationId="{BDA18217-A9E8-4451-89A1-DFBEF9ADD33B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18" creationId="{F1161B6C-C16B-4E2C-92E1-24F1861FA893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20" creationId="{B9537A0F-D7D7-4B7B-869B-8CEF3D14B75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21" creationId="{CCF98A67-E519-4548-ACB7-49ACF486245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32" creationId="{6054B123-6F0D-4B6F-8DDC-8048F0F3406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33" creationId="{17B37D0F-06AF-4EDA-9559-571EA6123EB9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34" creationId="{934D4735-9AD6-41EC-A61B-54D6C75B784B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35" creationId="{BBA760A7-78F9-4F4D-A3E3-A76538F5D92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42" creationId="{E8CAC804-DB1D-4B3E-BA04-B06F56145B6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44" creationId="{6EC77E34-8792-47B1-B59F-F9B3D9765BD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45" creationId="{2A902AD4-57D5-4E23-A060-7107975DD569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46" creationId="{92D55E85-9C8C-4633-A17E-D6F12CF594E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47" creationId="{72CE86D1-682F-47DF-8479-6330F2E378E9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56" creationId="{CF5E5AC0-285A-4B5C-91B5-16A479B8C0E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57" creationId="{6AB4CCAD-EC5F-42F9-99CF-37C13E29491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59" creationId="{748000BF-D089-4EB1-BAA6-39EEF3A2B55A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60" creationId="{35336555-358D-4121-9600-CA79527A735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61" creationId="{8CD29FFC-3CED-49C9-991A-4974511A05D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63" creationId="{C1D359C3-9523-4DEE-834E-9B824A5ABB2D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64" creationId="{3AAF4876-8756-449D-BEA8-F9DA7AA07686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65" creationId="{AB5F9797-A9D9-4579-8ACE-FE11A6287BC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66" creationId="{9EAA0AF7-B53A-4B72-994F-3FB9C7BB795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67" creationId="{699FAE70-0772-4B8E-8780-406C39F632F9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68" creationId="{B714967C-B905-414F-A012-C869C84915CD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69" creationId="{5EBF551E-20C0-4A09-80F2-6CA567D9F643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70" creationId="{14FDFA1A-A698-4034-A5DA-86196081B3A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71" creationId="{2B088333-D046-4BD4-80D9-DCD8CB0D2AA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72" creationId="{FE10F2AD-8FA0-4ADD-8A6E-4F76464C948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73" creationId="{42E6D9A1-065D-4136-B2FC-F9CA6245581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75" creationId="{1E4F415F-F7F6-4BAA-AED2-1F58B2132D2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76" creationId="{8CD62A17-AFF9-44C9-95AE-2E37680096E3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77" creationId="{E4A1BC71-73AA-44F5-B29D-0FD4F274D91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79" creationId="{B9A7B26E-4177-474E-B502-A0B9375B256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80" creationId="{2E2CF6DE-2AAC-4712-B18F-2916E6C69BBA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81" creationId="{2343FCCE-17B7-476E-9971-8FB85105694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83" creationId="{AE275276-C25E-4A76-AA82-94697919978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84" creationId="{A6A00F3C-753E-4D7C-B943-FCA7446E4C2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85" creationId="{77D3FEAC-3644-4D16-82A2-C7A8F88C5A1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86" creationId="{9733C893-9E24-49A1-A8F3-648BA63CD5DF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87" creationId="{6CF506DD-D0A6-451B-A3F3-84D0667DED4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88" creationId="{F2E86061-F96E-405E-ABE4-4868D68D389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89" creationId="{B2F90DC3-37AC-4217-A465-99A007BC73B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91" creationId="{863E0A91-FBE5-42E8-B817-FA489992C447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92" creationId="{BA87E3DF-3E84-435E-A8EA-0F15A313FC8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93" creationId="{FD761679-B098-4444-96BF-EE3472794E82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94" creationId="{66C00684-4B86-46C5-9CEE-9B473714037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96" creationId="{46A7756E-5EC0-479B-90DE-D3C297DB60F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97" creationId="{63447232-4403-4E35-8FA4-C4524381914D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598" creationId="{797988E2-3506-4BDD-B54D-3D8A1DC3ECCC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00" creationId="{12F4ED4B-4952-4DA6-BC82-06F01A7647DA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01" creationId="{544F74D7-3090-4A6C-977C-04EA49F7689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02" creationId="{9B14DEE8-4687-4B4B-8816-4BA30EC88BB4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03" creationId="{D48BCDCB-5FDB-4D73-B4D0-559DA6185B2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04" creationId="{918D67D9-78C8-4CB9-8351-CB1EDBF0E390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06" creationId="{8B7BF62D-87AB-4183-8ABA-7FDB3EC6A07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07" creationId="{2EF5578D-6539-4E5E-8CAA-377F1DC135E8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08" creationId="{3E764F97-44F9-4B8C-9967-D3DB5F0D29D5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10" creationId="{28E6EC10-CD43-4430-BBDE-7BCD0F14B65E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11" creationId="{CE23C820-8D39-4937-827A-A3DE63A7C58B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12" creationId="{BE49BA69-46D8-4423-A257-3700093DC611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14" creationId="{EC3538DA-B3E4-47BE-A755-19855F178AFB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15" creationId="{CBCB9069-F008-4E35-BDCC-2D9139DDDFDB}"/>
          </ac:spMkLst>
        </pc:spChg>
        <pc:spChg chg="mod">
          <ac:chgData name="Schulfer, Gretchen" userId="c352446a-8589-4ce1-8481-211528268116" providerId="ADAL" clId="{721808D4-8791-4D6C-B163-D040F9971C9B}" dt="2020-03-23T04:50:20.641" v="666" actId="2711"/>
          <ac:spMkLst>
            <pc:docMk/>
            <pc:sldMk cId="2654612190" sldId="417"/>
            <ac:spMk id="616" creationId="{184B8579-751D-438B-A690-DAD8973C9A0A}"/>
          </ac:spMkLst>
        </pc:spChg>
      </pc:sldChg>
      <pc:sldChg chg="modSp">
        <pc:chgData name="Schulfer, Gretchen" userId="c352446a-8589-4ce1-8481-211528268116" providerId="ADAL" clId="{721808D4-8791-4D6C-B163-D040F9971C9B}" dt="2020-03-23T04:50:27.147" v="667" actId="2711"/>
        <pc:sldMkLst>
          <pc:docMk/>
          <pc:sldMk cId="1136753318" sldId="418"/>
        </pc:sldMkLst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24" creationId="{96E024EB-6C0F-4987-9E5D-9C4FE0AB13BE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25" creationId="{B2E155E4-F800-4D99-ABEB-62B70539040F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26" creationId="{8656878E-F4F2-4047-8A38-C06C08597EBB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27" creationId="{E9195B48-C92B-488C-B376-5D07EFFA09B2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28" creationId="{A2650A60-0D93-4FF3-86A5-1FAE451F563A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29" creationId="{E137DDC7-5A83-4621-BD32-DFAA5587F0DC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30" creationId="{9C51789A-7A3B-45E1-8A28-6C72F4813767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31" creationId="{13022CAB-8C45-4C56-BF97-FA0289A1644E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32" creationId="{C2E7CA86-5790-47E3-AF35-222E7553A72C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33" creationId="{87AB6ADF-459D-4A26-B01E-C13D7B67713D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34" creationId="{9EC88D80-A9D5-43EA-BB26-683826CA96F0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35" creationId="{8A83B29C-13C9-436E-B8B3-8DF03FB4A631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36" creationId="{585BD3AD-B017-48AC-BD00-03C2FE2A8F20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37" creationId="{225A9D37-2B63-4A53-ADD8-FF3722335CDF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38" creationId="{FF1F1F5C-7E83-4A59-8C2B-EE85E18B3218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39" creationId="{3CEA8237-509D-4513-AA70-1E88299F86ED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40" creationId="{9A1C8EE7-711C-4111-BE1D-C7908F7FE5DD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41" creationId="{9D6B60ED-DB7A-4EED-BF57-A26C5DCAE755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42" creationId="{0E697858-FD20-4D86-A004-D85D232805AE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43" creationId="{F65DF278-D5F7-48EE-903C-A777954C57D2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45" creationId="{5DC35DB4-0B92-4099-8800-FAA87B321E75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46" creationId="{6FB4B374-1E1B-4CB8-A160-20F66A0263FF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47" creationId="{0039E05E-A162-44EF-9B23-E406293A7240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48" creationId="{2D9DEE1A-86AC-410C-A4D6-732686BE5B81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49" creationId="{FD923700-C1B9-4CA8-B85E-079A2F33F776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51" creationId="{032EB38D-C415-45AA-9BAD-12C7738B8DDD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52" creationId="{8658F914-3E8F-4773-861E-265AF7A6D167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53" creationId="{8BE5CC50-38A6-4C4D-9B50-DA7984D9AD62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55" creationId="{E0F14E4A-96B7-471B-906A-3AFEC8D96229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56" creationId="{0C373A56-330C-433D-A798-553926D3AFCF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57" creationId="{EB0871BF-D38A-4827-9209-2A6B24FF26EC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58" creationId="{B8AAD62E-9718-4CF4-BE0D-E60F6EF47E1C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60" creationId="{8CE3AD0A-6642-4CB5-8267-01DED8321B5D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61" creationId="{340BFB75-C745-44D4-85CE-529F78D9BEE8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62" creationId="{B85A2CF1-EB32-40A6-83BE-2E0D09B4F8FA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64" creationId="{B88DB03D-AB32-4421-BF18-83F1FA49BDC0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65" creationId="{C9696400-5C3D-4DBE-A164-D204A913E2E3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66" creationId="{D90D5991-ED99-48BC-BFB4-824FC50B22DD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68" creationId="{0AE9F547-B8E5-4130-84C2-3B8CBEDD8F1A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69" creationId="{BE4118AB-2546-4221-AA55-64D07A218BB2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70" creationId="{4057B8D8-2667-4D23-A03F-4CE0E05DF49F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71" creationId="{53EA364F-7ABD-483B-AF4A-38BEA2F50E42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72" creationId="{826AEED7-A74E-4E92-85B7-E7E352492A8B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74" creationId="{E872F0FF-A4DE-4AF3-8CF0-F4B0A71AB282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75" creationId="{F08402A7-19CD-4CAA-B457-DAC0D61DE85E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76" creationId="{7B50C689-7EE2-4B53-9FBC-602A1C475151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78" creationId="{AC1FBFF9-8AB0-4219-B162-3574F6FC417D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79" creationId="{9F5BE86D-50D1-4A1A-89C9-983BD8658373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80" creationId="{CDF39614-4D0F-4624-A15B-0530DBE6A31F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82" creationId="{DE4283E1-A07D-4D10-96CA-95035B8369C2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83" creationId="{ACDD5170-5B07-40E3-9C72-0804EF8DC314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84" creationId="{F1AAFAEC-A95E-4227-8295-C0207B0FD211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85" creationId="{28287B3C-D6E4-491F-B466-67D562FB60DB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87" creationId="{4B84D672-AB1E-49B3-9961-57CED73967AC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88" creationId="{DDE9E2DC-B9B9-48A1-8149-7C9F74939217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89" creationId="{1EE7EE93-96B8-421F-A15A-77668CE416E3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90" creationId="{8CCD3899-8E5E-4DE5-986F-37D8DBD0B09E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91" creationId="{F5950431-3DC6-4FD5-A41D-EEC96F5813DA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92" creationId="{748A4CEF-1DD9-457D-8BB5-C5BF7F974B3B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93" creationId="{2D976E74-CF4E-40CE-8218-23CA9971F6D3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94" creationId="{217CBCB7-E2BD-48A2-8B46-5DEAF89D5419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95" creationId="{843EACE0-D762-445E-AC23-B8A22753095A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96" creationId="{5CD43884-8646-48C8-B6A6-74575DE1F779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98" creationId="{822EF1F5-737C-4B94-BF94-DE84698404E4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199" creationId="{6B7D8EA1-ABB2-45BA-8BED-C2AAC1C51C05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00" creationId="{4B11A40F-E916-4F4C-B2DF-B77719DBF9C8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02" creationId="{0057A3EB-8423-4F06-A3F7-A5AF0062CEC6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03" creationId="{BDAFA809-FCA6-4524-808D-BD42720FB6A1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04" creationId="{32BA2018-216A-48C0-9FD0-773470E32200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06" creationId="{23F80D87-0010-4FEF-A54C-392844D4BF99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07" creationId="{C44CF35B-54DA-4D67-9B02-355804E48381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08" creationId="{8AB260AE-3616-43AF-BEB3-0EAC0C72C949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10" creationId="{2F05FB6C-EFB7-4FDE-B95A-F3CA145A6DC1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11" creationId="{DEEFCD58-8B80-4779-B5B8-6E75F5D4AA84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12" creationId="{3E833557-44DF-4C12-86D0-AD0B67F3FD97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14" creationId="{733C4B8C-1357-461E-867E-34D95EC2D722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15" creationId="{20CF7EA4-FDE0-45BC-BC0A-CBA523BB76F1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16" creationId="{29B2B80E-FDC0-434C-AA84-CB2AB6AB9FD9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18" creationId="{3CAB55AE-2081-43EF-AB4F-43ACBB83131A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19" creationId="{19010708-6F53-4774-AB68-08559DF8781F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20" creationId="{B4041A0C-657C-4EF2-A963-286C70C814D4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22" creationId="{63B82B04-A385-45DA-AEF7-3908EF8903B3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23" creationId="{E5723353-844D-40C6-AE9F-ACDD1901F531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24" creationId="{F596730D-D078-4DCC-A9C8-CBEC3E61A0A5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26" creationId="{7E212DC1-A664-41CD-88A8-9BA264FA7707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27" creationId="{99D3FBC2-2D92-41B6-8855-22561C20B202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28" creationId="{4197BC37-FAE2-4ABF-A66A-E3C47EE87AE8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30" creationId="{28111CAE-4E2D-42FF-AB9E-3ABDC38C9E50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31" creationId="{B8FF864D-303E-4D80-ADA2-0618D69CED0D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32" creationId="{4AE8FBA5-08D6-4623-AEF8-E68F039D43AC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33" creationId="{C335DF4E-EA5D-4D1B-81DA-89657C519A4F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35" creationId="{B3AAE72D-9CB6-4EE8-8BF8-112AF0FD60E1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36" creationId="{34BB5EE9-9EBC-4423-9270-58A50244EB37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37" creationId="{350E13CD-A21C-4728-9235-A48C1C5C035E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38" creationId="{A96B77A8-6486-45C7-91F7-B5DC1EB2FFFF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39" creationId="{5F6FB5AB-DBF0-4C54-A69D-4C3F8575AA99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40" creationId="{012B7980-7C6E-4CC0-BB04-53A234D10CA8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41" creationId="{15C83BFE-3EB0-4281-BDD5-3B44C87BC601}"/>
          </ac:spMkLst>
        </pc:spChg>
        <pc:spChg chg="mod">
          <ac:chgData name="Schulfer, Gretchen" userId="c352446a-8589-4ce1-8481-211528268116" providerId="ADAL" clId="{721808D4-8791-4D6C-B163-D040F9971C9B}" dt="2020-03-23T04:50:27.147" v="667" actId="2711"/>
          <ac:spMkLst>
            <pc:docMk/>
            <pc:sldMk cId="1136753318" sldId="418"/>
            <ac:spMk id="242" creationId="{52865B56-2356-4C09-B4A0-C8F66E242DD2}"/>
          </ac:spMkLst>
        </pc:spChg>
      </pc:sldChg>
      <pc:sldChg chg="modSp">
        <pc:chgData name="Schulfer, Gretchen" userId="c352446a-8589-4ce1-8481-211528268116" providerId="ADAL" clId="{721808D4-8791-4D6C-B163-D040F9971C9B}" dt="2020-03-23T04:50:34.601" v="668" actId="2711"/>
        <pc:sldMkLst>
          <pc:docMk/>
          <pc:sldMk cId="3602728833" sldId="419"/>
        </pc:sldMkLst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36" creationId="{FA4B9C84-F6F8-4EA8-8F8A-4AC292261914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37" creationId="{7C949062-B541-4AE0-BA15-02B5B3F9B7D0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38" creationId="{48F79E01-CE34-4957-A2B0-92EC39D1F9A8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39" creationId="{8D7B8F00-ADAB-4B31-9B41-9488426153A8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40" creationId="{648476C2-1C2C-4EE7-84F7-88668CB5193A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41" creationId="{24079301-4C95-433E-9EF0-D11E6A5B020F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42" creationId="{FF6BB7C9-18C2-4DA8-A56D-68C04E9A8268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44" creationId="{81DD369E-1852-407C-9856-ECC90BAEFE95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45" creationId="{B7310E05-6326-45A8-824F-1D3202A16730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46" creationId="{569E4F3C-647F-44C4-84B9-393E704DAAB0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47" creationId="{AC815D84-E767-4EE4-B900-1D9EBE79D4E9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49" creationId="{ACD5ACD1-FB5C-47A9-9137-5935594CCA26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50" creationId="{C708C427-0145-41DC-A7FE-BDAF91EEFED7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51" creationId="{5A91A878-E760-4C13-8069-CB0915DAAC4E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53" creationId="{DEB9911B-D059-4032-8119-997072C950AF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54" creationId="{625EDB69-7224-42C5-99F4-DC3A5FC63F1A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56" creationId="{65F38772-F1F5-49FD-9E9B-59F62ACEAAAE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57" creationId="{9B2E2F68-95DB-4DDB-AA4F-30DAA5DE543C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58" creationId="{7683AB6E-6535-4F7B-82F9-4B4C89D89306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60" creationId="{8079749E-D156-48EE-9ED6-96B6D6F6EFFB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61" creationId="{17D48AD7-61E6-45D0-A47C-D8D10E762111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62" creationId="{838FC8F6-715B-4990-AD9F-CC9B6763211B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63" creationId="{21244A0F-8397-4F97-9BAB-AFAF801782CE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65" creationId="{5BDBFA5E-2925-4DB1-B9DD-77E15012A854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66" creationId="{10BECE3E-F0DF-4183-A026-78C65A018C8E}"/>
          </ac:spMkLst>
        </pc:spChg>
        <pc:spChg chg="mod">
          <ac:chgData name="Schulfer, Gretchen" userId="c352446a-8589-4ce1-8481-211528268116" providerId="ADAL" clId="{721808D4-8791-4D6C-B163-D040F9971C9B}" dt="2020-03-23T04:50:34.601" v="668" actId="2711"/>
          <ac:spMkLst>
            <pc:docMk/>
            <pc:sldMk cId="3602728833" sldId="419"/>
            <ac:spMk id="67" creationId="{876460C5-ADF2-4A37-B50B-5E2EE6D5382B}"/>
          </ac:spMkLst>
        </pc:spChg>
      </pc:sldChg>
      <pc:sldChg chg="modSp">
        <pc:chgData name="Schulfer, Gretchen" userId="c352446a-8589-4ce1-8481-211528268116" providerId="ADAL" clId="{721808D4-8791-4D6C-B163-D040F9971C9B}" dt="2020-03-23T04:50:42.595" v="669" actId="2711"/>
        <pc:sldMkLst>
          <pc:docMk/>
          <pc:sldMk cId="3133277083" sldId="420"/>
        </pc:sldMkLst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222" creationId="{AF344C7A-F00A-4BF6-BA36-021F3B51E37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248" creationId="{2DFDA0D1-98F4-4728-B551-1CE4068F453E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249" creationId="{87C36B28-0035-4343-BE20-D64F7DCA2B4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250" creationId="{4B10CB11-2834-4A5B-B0D6-0A4397105111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251" creationId="{0BB093A7-B7C2-4963-893B-9E5296E343E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252" creationId="{EE3B10EA-43C1-4949-A4C5-048C48642144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253" creationId="{0EDB31F0-66B2-45FA-9DC8-D7BA831D363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254" creationId="{D36549DB-98BB-4F07-9C7C-1C5636BB998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255" creationId="{8A38EED5-0E5B-4C8A-9893-2B5BFC8AEEE1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278" creationId="{98E652F6-83A1-4DC7-9041-00C878E62A6F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279" creationId="{3E874DC8-6BA8-40F5-88B8-9F349E5F637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367" creationId="{0CE5D547-6306-405B-831C-45390F6F5FB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368" creationId="{4C889134-3723-43E8-AAEA-F718A5F885B5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369" creationId="{71588B14-4C15-4068-9D2F-5B33A32D36F6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370" creationId="{1625BD41-2DDB-4F97-AF58-7D131A169C0E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393" creationId="{165E9A0F-0CD2-4CED-8A1D-9B860FD55365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394" creationId="{4002E77D-BDE9-475B-A721-67A263F1EA7A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395" creationId="{ACFE01D0-5BC1-43D8-B31B-15B751C35245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396" creationId="{8A8BFAF7-6F37-48C6-A76F-DBDF05A94E55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397" creationId="{EE87A2B6-2AC1-4BE7-85D9-9BB29B637B1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398" creationId="{39670A3E-7E07-4398-9A33-6BD465E2072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399" creationId="{922E5F06-B4DF-4684-8598-91AAD6D59F16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00" creationId="{EF3FAE26-33A1-4934-AEBD-3C60FE26B2D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01" creationId="{750337F8-A4D1-478A-947F-B429E162029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02" creationId="{CD41A4C3-B64B-4DFA-A1DC-9C305E478B4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03" creationId="{500FBDDD-8BB5-4EF8-B76E-B14B8CCCCE1C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04" creationId="{27D59267-2682-4AFE-AE5D-9FF545B7F0AF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18" creationId="{0DE5EE89-3A9A-4913-AE82-B86CB4BD5E9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19" creationId="{5E9C84ED-5181-4919-B13A-84E378E0422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20" creationId="{D601A3AC-E675-409A-ADFF-3B0DA7A092EA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21" creationId="{795376E3-BA77-45B4-9D51-DB6753C89A4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32" creationId="{A9754AE9-B056-4F36-87F1-5AF29EFBB46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33" creationId="{46DF7E69-49A7-41E1-BB2B-B97324F7064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34" creationId="{51F4FC90-F354-4209-A0CE-B9D4B964C6B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35" creationId="{61B26077-5EE7-4F50-80D0-BA297269AB2D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36" creationId="{DF63EF06-3E72-4576-BCC9-AD81EC04328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37" creationId="{670CFA70-1038-496A-ACC6-1411A2046EA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38" creationId="{1604283A-59AB-41B4-AD3D-669BB39E2F68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39" creationId="{5F058903-505D-43EB-B722-BE6F5F9B55B8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40" creationId="{679CEBED-ED48-4483-8F98-85DBB5A0EBB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41" creationId="{C635EA93-B44A-48D6-8546-4F9608DF0214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42" creationId="{D140DF39-1751-4EF3-B0D0-DBA679DFA3E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43" creationId="{9AAFB218-8462-41B8-9DEE-7048F2B45CEA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44" creationId="{58C41E62-1273-4048-A486-22DEED45FA3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45" creationId="{37F882CD-ADBE-409F-8B12-F86AEF0B66A6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47" creationId="{9D8200F5-9A50-414A-B9BA-6DC5200EC10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48" creationId="{D585AFB1-69DD-44FF-B943-1D43708E62EE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50" creationId="{C59F095E-6402-41E6-BF61-DA24A7DD120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51" creationId="{060A0EAC-9B8D-4D7A-80EA-8728CE4F0B4F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52" creationId="{C173A560-2506-4123-AE93-B0CD0FB80BF4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54" creationId="{6DFD7815-EE89-4B9A-BA8F-3056E6A0D968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55" creationId="{727BD097-6F87-49A2-B843-9B8A4F7D00F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56" creationId="{BE9C5F1C-B4F5-4766-9A2E-46C8DD6C74B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57" creationId="{23F78721-5CF6-4FBA-9ADD-362435D22DCC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58" creationId="{B54DBEA1-E5B9-4CEB-A0BF-5CB0F16350CF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59" creationId="{1E63CD91-01D2-42EF-817C-F48EFE39D068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60" creationId="{BCFDD63B-5A2A-4038-844A-0D5EC9C5783E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61" creationId="{C50922B0-6CAC-49E8-A502-DF6B1528A846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63" creationId="{324FBE69-133E-4D02-B16B-45C37CA0042D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64" creationId="{45B5318E-CC2B-422E-950B-349C8D43DE4D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65" creationId="{3C57A2F4-F834-4B8F-8A39-E12C8F40279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66" creationId="{4A9A1DF0-D9C4-4075-8A11-8A39D6404A15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67" creationId="{C7ADC709-4B56-42CD-B02F-D87E5C9DC05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68" creationId="{DCDEE2EA-990B-4024-A6E0-0AC6C8354CE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69" creationId="{17400868-F963-43D2-8EB3-87523BBFB62A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70" creationId="{FCC16F57-B1EF-4B16-B3AD-C0F77F14038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71" creationId="{439E5B98-BE5A-41E1-B27D-1232775694C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82" creationId="{F8B342C0-1C65-4BCF-8A9A-867177BA82B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84" creationId="{F64FF0DF-A8B1-4C28-9B64-C49AEE91E69E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85" creationId="{1AA85F01-2940-4BE2-90C3-A92670AB5C96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86" creationId="{5822708E-2FCB-4EF9-9AA0-C2C5612A6775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87" creationId="{C873DE78-6AC5-4D95-88F0-4E5CFEE1BCF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88" creationId="{DA5AFF26-3F6E-4AF5-9AC8-0C6C7CB68D5C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89" creationId="{6C504710-425C-4D54-A1A9-7E82A9E69ACC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90" creationId="{E3845549-1412-488C-9879-25BA42F6C47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92" creationId="{98B9AC2A-3F54-4453-8FCB-0941055A3268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93" creationId="{8EA06001-E147-4A3D-93B1-414A67159726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94" creationId="{21263E67-9584-420E-93E9-88EBDC86B40D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95" creationId="{14A39985-EE1D-4B80-9D2C-96B870C4D9E1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96" creationId="{B9061742-E89F-4E52-A5F8-8CAD62298D9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97" creationId="{2787F261-79AE-4DF2-8DDB-2D047A286CFF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98" creationId="{392E7907-BC2D-4472-88E4-3D5EC3F61B95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499" creationId="{D9F6371C-BC5D-4DE0-B320-54CBC0CC4DDE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00" creationId="{44C38847-ADCB-434A-962E-FF3AEF9D804A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02" creationId="{20027A8E-3432-4DA6-9B39-FF56E870A615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03" creationId="{CD8F2944-C07B-47D2-B65C-316F5573804F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04" creationId="{6E1D62D4-B3FE-4E3A-8D81-8AF86E6A9D0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06" creationId="{0C9F14DF-3C79-4145-9004-33577216AE5F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07" creationId="{A4C30BA9-78FB-4AEF-BA80-3BE10B6403E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08" creationId="{6DECD375-C057-427C-A685-3081F0177E4D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10" creationId="{4F614AD1-9DE4-4B69-AAAC-B17A8B2E881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11" creationId="{1F8F01AC-6A77-45FD-9CB1-F13999660D5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12" creationId="{FEE1A0DE-FF0C-4B07-A7D1-1294C009C48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13" creationId="{63F38462-EE8B-4EF0-A609-B6D5AA4211F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15" creationId="{A6961614-B015-45C0-A9E6-D20DA6585E74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16" creationId="{16CCC0AE-9487-45EB-9EFA-F0AF5686E41D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17" creationId="{1BA987DF-DE9B-4B39-82A3-5C21EA4DAAE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18" creationId="{106AD13D-758C-4208-952B-376C24C70BCD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20" creationId="{64834C4E-4A16-4D5C-944E-3E4D51DEC44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21" creationId="{68FC8794-FC25-49EE-BE0B-5A7240F9E6A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32" creationId="{409A6F1E-9B19-4C19-A6DC-693A44A6F16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34" creationId="{C4E46CBC-EBFA-4F0F-B164-8B5D3C48DFC1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35" creationId="{79F2C521-1547-4FAE-8E2A-7061F2268466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36" creationId="{B88A9040-C429-421E-87E3-68EA2F7C3F0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37" creationId="{2A78A547-4056-4D1B-B7A8-F90FA21E9CC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39" creationId="{A164DDC0-4C39-4FD8-A644-45F21788A80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40" creationId="{8E6566D1-F168-425B-8C06-B92C4BA2B49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41" creationId="{4E0B7638-0570-4482-BF60-B8B7924C7066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43" creationId="{69C2341A-048A-4F51-A238-76CB36C4897C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44" creationId="{F5C72513-9FC8-4D56-9E6A-DE355B011B5E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45" creationId="{40B6EA0C-B857-4658-A8A7-36DB2B15084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46" creationId="{43431F31-E2E2-4A24-8362-6113322E5A2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48" creationId="{B61C6743-6478-4CF4-A4EC-36776E3C282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49" creationId="{8A9BCE93-4107-4CFA-9EC9-6FBF4702E47D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50" creationId="{79AE60BC-D939-4E92-AB82-75B21826247A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51" creationId="{EF8337B3-9A82-4576-BA6A-8E79A406F38F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53" creationId="{DD947127-A80F-43D4-8490-B8103C69D44C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54" creationId="{03D392F7-B4ED-44D3-8E43-4527F343FDC5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55" creationId="{FC699985-C5E2-4EC6-9F5B-413056F781EA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57" creationId="{F3C851D8-7367-46EA-B205-F5B0E5AD07FA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58" creationId="{E58D3FC0-BC2E-4E7D-8A6A-04AB9A24FBFF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59" creationId="{E9B0813A-E802-423E-B47B-93051D88CD84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61" creationId="{53D6B0F1-2098-4A20-A3F6-641F5ACE6E58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62" creationId="{4FA64B7D-70F1-458D-8EF1-55A533885DB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63" creationId="{5EDFA372-99D7-47A3-8881-1FB9FAB9349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65" creationId="{8B35405E-32EE-4FE6-8396-D600E81D2CC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66" creationId="{87FD96CC-5A15-49B6-B5EB-E6953EEB3498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67" creationId="{4C85535E-C2D5-4FA0-9A78-217E811510D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69" creationId="{A80BDA1B-A3AA-4DAA-A32B-A25241698EF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70" creationId="{91BB8CE0-5A25-4359-A069-212DA651838E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71" creationId="{C5B86774-1355-4F75-8EE8-49CB70BB53BF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72" creationId="{03E00247-05EB-4536-A13D-212F05372FE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74" creationId="{840C9A42-876D-4269-9635-9474C60CD1DD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75" creationId="{216359C4-8149-499B-8429-27091AE6C6ED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76" creationId="{C7B9D688-FC19-4DD6-BDF9-9D4F1B8EDF9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78" creationId="{29A78449-A959-442F-BE7F-9ED45E79E3D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79" creationId="{7CAECA59-7845-4331-B976-4A18FD75B77E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81" creationId="{CC995021-7C52-4E41-B57C-9AB9E776399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82" creationId="{95673129-E725-4223-9E77-B01DCBF315A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83" creationId="{5AD3A2A5-233D-49A2-8CB2-9EFF2969A51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84" creationId="{246CB153-7702-4A6F-80AF-B5778BD81DF1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86" creationId="{7036ED3F-CB9B-4762-915F-A1AAD2CB7E3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87" creationId="{3CEEB934-AAF7-4A75-8984-EB3A0DDBB908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88" creationId="{C84B6103-5763-4087-93B2-7F67EE764554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90" creationId="{FC177F61-D488-4896-AE70-40C2C6C7212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91" creationId="{4C1B88BD-1F9D-4736-B725-1B2C0F2FE06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92" creationId="{3A752DCC-E418-405E-A552-E3A8C2A97EB5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93" creationId="{FA486484-E27A-425E-A585-B0F2A900EE9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94" creationId="{10EAC53D-6F93-49D0-AE4C-BA4810DC54B6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96" creationId="{705F7D03-CEE5-4AFD-BDFA-1E06BC60D8A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97" creationId="{FE4D3FD5-F180-4044-B2CA-6E7BBF2384B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598" creationId="{A23F5946-23FE-4056-8D89-882FD0FEF95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00" creationId="{FA530223-05C9-41D3-B88A-836B2221D3D1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01" creationId="{BE50A016-A389-45F1-8859-2A6138F76705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02" creationId="{E948504A-DFDA-44B6-9282-8B698CBA7E58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03" creationId="{3579891E-7B94-403D-A3E5-5E7A5C062D0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05" creationId="{BF8FE90C-E12C-4081-8876-716F1815DD5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06" creationId="{5ADEB3FA-CC00-4EE8-A376-540CB7A41CF1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08" creationId="{8FF6779A-D32B-4AC3-9298-FD6142A316C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09" creationId="{43FB0998-34FB-4C7C-92B5-35FBAF72E85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10" creationId="{AC837139-F33F-40CD-98FB-6AC1259B981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12" creationId="{095A536E-BDC3-4473-A992-834C5D020A07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13" creationId="{930C819D-748C-42EC-8122-F9BF6B21A25A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14" creationId="{9DE9F303-B5FD-4CEF-8FD2-98E839A4947A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16" creationId="{B80C7278-2C8F-4A60-93E3-777A5EB15E4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17" creationId="{0541632E-6373-4ED7-906C-5447CDA4962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18" creationId="{BA7E949E-73E3-4FDF-B760-79BB01E1F05A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19" creationId="{E3533AA4-5A1D-49A0-9476-32ABE6741CDD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20" creationId="{5B6FA276-6130-46FD-8E5E-E6C6D4506B5E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21" creationId="{5DA7B8FE-F0B5-4C17-9339-D50D404219F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27" creationId="{29C4E17C-0184-4055-A591-386AC94A7E18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29" creationId="{BDBE035D-5AFC-4C3D-93CE-EACF55FDF4F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32" creationId="{CE233CBF-6E04-4272-9BB2-9D39111C492D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33" creationId="{6F3223F1-5937-4A1E-95C0-FE8F18DAD779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35" creationId="{43B519E0-6471-41D2-947A-189AB9C03AF2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36" creationId="{6C8F076C-A8FC-473E-B1C2-63E6F31B5BC3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37" creationId="{BE602258-7D45-4A5B-9679-836C79EEADFE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39" creationId="{5E26986C-1CB4-4D41-A1F7-876A03ADCAF6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40" creationId="{07541554-5BCA-4EAD-A3D2-30B2E504730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41" creationId="{844115C1-647A-47E1-8194-ED3DA6A6178B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42" creationId="{99722C7D-01C6-42E2-A087-624CA36577E6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44" creationId="{FB300731-46C6-46FA-922E-0D54520A0580}"/>
          </ac:spMkLst>
        </pc:spChg>
        <pc:spChg chg="mod">
          <ac:chgData name="Schulfer, Gretchen" userId="c352446a-8589-4ce1-8481-211528268116" providerId="ADAL" clId="{721808D4-8791-4D6C-B163-D040F9971C9B}" dt="2020-03-23T04:50:42.595" v="669" actId="2711"/>
          <ac:spMkLst>
            <pc:docMk/>
            <pc:sldMk cId="3133277083" sldId="420"/>
            <ac:spMk id="645" creationId="{46E416EB-8914-4896-A056-64027ECC5DDD}"/>
          </ac:spMkLst>
        </pc:spChg>
      </pc:sldChg>
      <pc:sldChg chg="modSp">
        <pc:chgData name="Schulfer, Gretchen" userId="c352446a-8589-4ce1-8481-211528268116" providerId="ADAL" clId="{721808D4-8791-4D6C-B163-D040F9971C9B}" dt="2020-03-23T04:50:51.608" v="670" actId="2711"/>
        <pc:sldMkLst>
          <pc:docMk/>
          <pc:sldMk cId="1268589487" sldId="421"/>
        </pc:sldMkLst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45" creationId="{1BF17CCE-4BB4-46DD-A7E6-5F0DE6604C39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46" creationId="{4B7B69D3-07E7-4A78-A7CD-5CDA380340AE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47" creationId="{FFB3B239-D0BC-4725-A091-0F8E1DF581D4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48" creationId="{D9CD204E-1F64-436B-9978-1778F7659465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49" creationId="{497DD7CC-490B-424F-95E1-479BCAF81CAD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50" creationId="{64CB5ECB-3380-4105-9AA4-EE98AE950B3F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51" creationId="{68739CA5-EF36-4CBC-BDEE-634EF30BB222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52" creationId="{6299C19B-E713-4D68-B2C7-FF595F91039A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53" creationId="{94B44F6E-711C-44AD-B787-163A3D3BA68F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54" creationId="{44A99ECF-09E5-42F5-BD66-37AA44271DD3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55" creationId="{0E702B72-7AF8-4049-B6F6-1BC648074BBE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56" creationId="{777460A1-D138-4C30-A724-30035CE59D51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57" creationId="{492C677F-2250-4711-AAF6-175FE47984E8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58" creationId="{6DFBE267-79FE-47BC-BF33-8D964F91C8CC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59" creationId="{645C9454-8CDB-4096-98EA-075B5402874B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60" creationId="{46D3F51F-A25C-4824-85C0-97D6B76DB3A1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61" creationId="{C74DFE3C-3B29-4D6F-8633-A5DC1E770547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62" creationId="{192A41D2-A963-4AEA-A33E-FC4D35C5CEA1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63" creationId="{3EA34402-EA59-4B37-A5A8-3778FF310B1D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64" creationId="{FD2393A1-26B0-4AE6-9E71-A2B725444B2D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65" creationId="{B6E8A234-981B-4F56-8DCC-602E6F0B49F8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66" creationId="{26B51385-8E55-409A-943D-9C0376AB9764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67" creationId="{6D7E8F6B-F915-457E-B16E-153EAEB872EF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68" creationId="{748BDD4F-3309-4AD0-BCBA-9CC96AB1A76A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69" creationId="{771E2C7F-AF45-4214-9E2F-AA09EFCDCD20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71" creationId="{3655664E-55DA-4B6A-97CE-56FBEE83EC3E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72" creationId="{A4984066-74CD-4ED8-8F6C-1F91D28B5A06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73" creationId="{F53AFCDB-BEEE-46E4-B1D3-97C936A47C09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75" creationId="{F7FB580D-4A67-4230-97A4-A8C3784EB4C6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76" creationId="{9979DD65-FB5C-4622-B030-A1765BF85659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77" creationId="{47DC4716-8664-494C-B325-001684419E9D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78" creationId="{D820A35E-6961-41E3-8D9C-D2A569129E33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80" creationId="{BCE000C1-16C4-4189-AEC2-0CAD96E97E40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81" creationId="{54896DF3-AEA1-4A0F-AEFF-ABAF8A9ED7F7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82" creationId="{F654816E-5CC4-4E46-950E-B1DF1D9D5A24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84" creationId="{113B947D-E02C-432A-A773-40BBBBF64F92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85" creationId="{398FC981-699F-46EE-9597-F58EDF46083A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86" creationId="{18461809-330E-4F23-AB1F-6570CEB31B60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188" creationId="{CDDEA380-F0AD-4EA3-84D5-8BD75845D7C7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255" creationId="{A43C55F6-C86D-4571-BA17-94F73CE53324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277" creationId="{FC6836C5-DF48-4321-8082-CBBA06C6D482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279" creationId="{23D284F0-0FA8-4299-917D-4384C9DF0615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280" creationId="{3B86EACB-B7C1-4493-84C6-11D6C3FBE2AA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06" creationId="{29054BF0-AFF2-40A9-8C4D-6738B3D870F6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07" creationId="{BEB080CA-2639-417A-93C2-67143C03170E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09" creationId="{643C3A34-C5A2-414F-803B-1A175BFD4803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10" creationId="{D22C57D7-4B81-483F-B04D-5D13CA776103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12" creationId="{9FB6DBFE-FEF9-4771-B98E-43C95492D7A6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13" creationId="{E821AECD-4190-42EB-B169-08DF7A0B4489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19" creationId="{2F353788-8DC6-4BD6-A9C8-570250A66EC4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20" creationId="{E96111D1-CAAB-4F27-8563-68EF19A5C87F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22" creationId="{BF56E0B4-5AC4-4D28-A35B-460D8DB80632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23" creationId="{9F319DB6-0ADA-4F0D-AB19-73402C4A011C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25" creationId="{DC7AEC0A-8949-44A1-B541-7E8A634E8374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26" creationId="{08D49FF0-611F-430A-A9A8-28EEAD76E734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27" creationId="{AE153A7F-0F74-4473-A5C3-7AE6F7084BCB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29" creationId="{C10B6C08-759B-4E1E-9465-6FFBF1D03988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30" creationId="{7BB67B1E-A96A-4D78-B1FF-BB2819D246CE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31" creationId="{1DE5D0A0-CF73-45E8-914F-D2634D090479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32" creationId="{4ECC6988-05F2-46FC-841E-21A679C3114B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34" creationId="{E059B4E9-4656-44FE-84FF-5F03210BB2FF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35" creationId="{352B7F6C-3D12-4CF8-B351-B815810EC77A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36" creationId="{71548C1B-7CB2-4D68-940F-1AD59ECFE776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38" creationId="{D09B22DE-9AAB-4DB9-9C0B-F62DC33F3DA2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39" creationId="{752A7167-29B7-4863-8595-B16B6191A8A0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40" creationId="{70D06A9D-03A9-40BD-83F7-8EF2D537F081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41" creationId="{052019E6-B06A-469B-A8F5-F43D09E41090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42" creationId="{E5B25145-7113-4185-90C2-F5D070D82844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43" creationId="{65B554BA-C70F-4DA8-A01A-BC8381E8F5A2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45" creationId="{29D0D88A-3C9E-4BB2-8304-C386C6188A33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46" creationId="{F41C5980-3C77-443E-BDD9-EA994C029E06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47" creationId="{1E065837-A181-4EC3-908D-B4C1B7014549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49" creationId="{6936D1A5-D582-41B6-82BA-6C62767CF1D0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50" creationId="{EF397F9E-C6D0-4A93-AFF7-FDD42CC4C190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51" creationId="{AD3DAE97-89A9-4800-8F62-2F5A2D4BB567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53" creationId="{CC223ED6-FD29-4F7D-8B28-E5D326A6697E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54" creationId="{5892E14B-4C2A-4E9E-96F3-D53C803AAC2D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55" creationId="{3DD7D93A-D58F-465A-BDAF-6543602C9BC1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56" creationId="{1064E1C5-8B99-4874-AFCF-5429A7AA5480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58" creationId="{B6B5FFDD-DFEF-4AED-AAB1-7F6A537E05D9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59" creationId="{B7CCA2AB-B459-4D5B-B6A6-7999CF218F86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60" creationId="{384FCE30-A0CD-41B1-A5B0-1312EC502397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61" creationId="{81BF0017-D62A-4D03-AD7B-C39B2598A0CD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63" creationId="{6619C7BB-CAE2-40D9-9D38-FBECC6836BA7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64" creationId="{27A45CBA-3916-44CC-9329-547A11D71C6C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66" creationId="{5E0077D8-4E2E-496C-B7DA-039BE331FAC0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67" creationId="{B356778A-BACD-41D4-B815-C5970B9CD596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68" creationId="{A12F2648-4D03-4F10-884C-A1BC9CFD98BD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69" creationId="{66E1C579-5CB9-4B70-9D0D-B70EC86752D6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71" creationId="{23A390FB-3BDE-4303-86A2-234819E98BAD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72" creationId="{3C3FAC87-0E9D-4D5C-ABC4-E973EB6C492A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74" creationId="{89185B33-BAD0-4F66-8CD8-2AE98A285B22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75" creationId="{5590A780-9ACB-4CA8-92FB-F0E44A03C391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76" creationId="{38C776CB-E6DF-4621-99FC-7824AFD3E794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77" creationId="{1CC3E320-29C3-4A48-98C7-E80DD370F9FE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78" creationId="{D82051BC-745C-4CA6-BE07-DC6109DCB3F7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80" creationId="{A7347E79-B4DE-4A3F-87E5-9CC293DEF5B8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81" creationId="{72C9CAAF-1447-4C22-B2EC-B00182B676CB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82" creationId="{1848FC03-C4E8-4081-AA40-0E6A93A85A44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84" creationId="{0294DF00-2230-4F69-8191-7DC7810F8ED4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85" creationId="{05C51CF1-148A-4256-80A1-9A2BEF6482CB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87" creationId="{72A7DB17-3D47-4BE5-ABCC-25D0173AC5C1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88" creationId="{DED5C2B1-E2AE-4E06-8B50-56F15DED9F37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89" creationId="{02B3946B-6544-4A95-A3C1-7EC06D88A6E7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91" creationId="{6A008E42-3D14-486E-9B37-2C3E33A06382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92" creationId="{5D376CF8-F223-4387-AD48-D5EF86358369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93" creationId="{BE2FCF0E-62DD-4B80-A33F-B0779E5111B8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94" creationId="{BAA4106D-8CDF-4DFA-92D5-9BE5E86E42D4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96" creationId="{03C671E1-F4D6-41AA-BA94-F98B6A0E1EF3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97" creationId="{9331ACCA-99D1-4F00-883F-18B7CF7FBA03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398" creationId="{9DA9D3F9-5B65-427E-88E6-540F3DDA42DB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400" creationId="{3781261E-AD84-4204-B984-A189DDE5BCA9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401" creationId="{E0DC0FDE-13AA-42F6-980F-85EAF3D373E3}"/>
          </ac:spMkLst>
        </pc:spChg>
        <pc:spChg chg="mod">
          <ac:chgData name="Schulfer, Gretchen" userId="c352446a-8589-4ce1-8481-211528268116" providerId="ADAL" clId="{721808D4-8791-4D6C-B163-D040F9971C9B}" dt="2020-03-23T04:50:51.608" v="670" actId="2711"/>
          <ac:spMkLst>
            <pc:docMk/>
            <pc:sldMk cId="1268589487" sldId="421"/>
            <ac:spMk id="402" creationId="{BB3F01F6-481C-4587-A1EC-BDF4083A5AD3}"/>
          </ac:spMkLst>
        </pc:spChg>
      </pc:sldChg>
      <pc:sldChg chg="modSp">
        <pc:chgData name="Schulfer, Gretchen" userId="c352446a-8589-4ce1-8481-211528268116" providerId="ADAL" clId="{721808D4-8791-4D6C-B163-D040F9971C9B}" dt="2020-03-23T04:50:56.717" v="671" actId="2711"/>
        <pc:sldMkLst>
          <pc:docMk/>
          <pc:sldMk cId="2355143700" sldId="422"/>
        </pc:sldMkLst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95" creationId="{86B31B05-9095-4165-B6F2-462F2C35FCCD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96" creationId="{DFEB7F30-8580-41CD-AB06-B7F66FDCD092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97" creationId="{BE75C87B-28A6-470A-83EB-C5C4AB361321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98" creationId="{A87A6B2C-3BA3-4E1C-A2C0-2430ACEA5144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99" creationId="{A0F0FCA7-062F-47AE-BA08-D0DFE2957A6B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00" creationId="{D6AC22D5-628E-4D41-A03F-9E5624E38D25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01" creationId="{4ADD00A4-E8BE-4EE8-A1A6-B1F6B56E1A3D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02" creationId="{3982EBFB-F6B9-4DE3-A0B7-DD8EE6F5C399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03" creationId="{4DCF7891-1A56-40DF-B821-74D9C50850B2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04" creationId="{1398EA57-E98C-4486-B420-BF3B021E5DFE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05" creationId="{95C6D61D-42BA-43BB-AACB-A6285E24819C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06" creationId="{8F97F60A-F56B-4E73-B98B-B5E040473D61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07" creationId="{DD91AAB5-4196-421E-A768-3A6B6860A69E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08" creationId="{A97B2C9E-AA15-41FA-A3D0-73258BCF459F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09" creationId="{9306B1E8-3A78-480B-8DA4-B711102CFBA4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10" creationId="{E2B4B94A-5479-483D-B1BB-7FBF056847C1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11" creationId="{C682A5BA-701B-4C3C-ABD1-C33EC4396069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12" creationId="{9673CD96-26D7-48F9-AD6E-0D9BF65E8415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14" creationId="{A7B4EC5C-73F0-493E-B3A7-8B92E7957760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15" creationId="{47F6F26F-92B3-431A-9CA2-632EA46AE4C7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16" creationId="{E1ABFFDB-7591-4BC6-957D-6D8D185ED00E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18" creationId="{70AC4B5E-B6D2-45EB-AA6F-47A322D0BF6B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19" creationId="{5BA676AB-3CAD-4E45-BB87-E323296D6A0B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20" creationId="{45EF2EAE-3D70-4B49-95C0-5F257CFB096D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22" creationId="{3D15CD4A-8450-49C3-B30F-CCA901A85C6B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23" creationId="{F0794CB8-1FC3-46FB-9EFA-1E2EEC2310EE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24" creationId="{8C2147B8-1D3B-4722-8486-0A51E019158A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26" creationId="{C4B14BA8-8248-4E5F-9776-10D956884572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27" creationId="{D9F2E480-D994-497D-AE22-84B428CA95E1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28" creationId="{012A04DD-EBEB-4D57-AE74-7B448DBF9D6E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30" creationId="{CF5B2CE3-F454-48E3-BED3-0F630DA2487C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31" creationId="{AC838037-6E04-40D2-8037-E06661E47B05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32" creationId="{29CB311A-F244-4D42-A337-880FA8EF6F93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34" creationId="{E924BDAA-80A8-4982-8630-D9033C4E86E2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35" creationId="{53013386-28A3-4225-A1B3-070CFFFC50F1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36" creationId="{5ED80F7D-0FAE-448D-8687-3947D84F34FA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38" creationId="{D68B0B28-25BA-45AB-9D3E-03AE2789308B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39" creationId="{3465446B-BE8C-4817-AE58-10D172BECB8D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40" creationId="{BB1837ED-CD0F-4370-87E4-30CB70A4EB1C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42" creationId="{A920528A-BFA7-431A-85D6-04B7284ACB90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43" creationId="{354F76FD-94EC-43E3-87F2-8136D0C89AE3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45" creationId="{F1DC1EBD-BC98-498C-BFE0-7991ADFECA5C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46" creationId="{4E001094-D7BF-4BFB-8CA3-7CE09365D873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47" creationId="{D2926D6D-0F7D-4158-959D-ECAD9C851751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48" creationId="{B3E47601-F635-4386-BA21-059AF75EB49D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50" creationId="{378074E9-6662-4BF3-A7C1-07F8A796FBB5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51" creationId="{B878B595-C066-4B57-9CF1-2BFA28A767FD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52" creationId="{6A8833D4-397F-4C64-8A54-EFCEF4CB2BB1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54" creationId="{E80D4EBA-AEC3-484C-81F6-1E26116AB649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55" creationId="{41C41DEB-FAA8-4CE6-A0B8-EDB07C271592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56" creationId="{5A565215-58CB-4DB9-B620-DB1C18392F59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58" creationId="{A1269A2B-FDE2-4197-A3C6-4200B6CA449D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59" creationId="{B5CF0C10-F514-41B5-9BA5-78C17A8CEF2D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60" creationId="{00712264-7DF4-410E-A926-6F5234264F01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61" creationId="{429AADC6-D514-4338-B527-1DAEDE96D2AF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63" creationId="{5CDFC4E4-6E6C-483A-A03C-28B5E0A365A3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64" creationId="{8069B2C4-D6D8-4676-82E9-31233348156D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65" creationId="{C5838E35-4BAF-4D1C-8012-C4ABCC243F87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67" creationId="{2E962CFE-D326-4BE7-B7B2-1CE31AB646A0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68" creationId="{661145D3-BD74-43F2-A030-34EABC614E49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69" creationId="{55A12F18-9EE9-45F8-95EE-08C4EEA1F7D7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71" creationId="{21D360AB-9022-4915-B718-5D641D0E6DBF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72" creationId="{BE0DDC28-BEDF-4ACE-A5E6-86421535EF83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73" creationId="{D223883E-288D-4D1B-A5A6-E5D3E3A76C64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74" creationId="{A70935F6-45F6-464B-8C1D-1DD92A77BB7F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76" creationId="{D0A3B623-5868-4638-9B5E-DDAEE1B138E3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77" creationId="{434D2530-A70F-4B46-9E50-06FB61A8F08E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78" creationId="{C6841C73-5478-4CA8-A624-624E3F6EA453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80" creationId="{F35C9674-6B8C-4497-8AFE-32085A0F3B30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81" creationId="{7F302C94-1FE7-449D-89F9-CD4E3F2C2B80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82" creationId="{6B3FCC4E-3793-4685-AFFD-24B4A2886296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84" creationId="{B2756EB0-531A-418B-9C1F-5AE6029A3ECB}"/>
          </ac:spMkLst>
        </pc:spChg>
        <pc:spChg chg="mod">
          <ac:chgData name="Schulfer, Gretchen" userId="c352446a-8589-4ce1-8481-211528268116" providerId="ADAL" clId="{721808D4-8791-4D6C-B163-D040F9971C9B}" dt="2020-03-23T04:50:56.717" v="671" actId="2711"/>
          <ac:spMkLst>
            <pc:docMk/>
            <pc:sldMk cId="2355143700" sldId="422"/>
            <ac:spMk id="185" creationId="{062677A8-BC5E-4A45-893A-1FEAE1804679}"/>
          </ac:spMkLst>
        </pc:spChg>
      </pc:sldChg>
      <pc:sldChg chg="modSp">
        <pc:chgData name="Schulfer, Gretchen" userId="c352446a-8589-4ce1-8481-211528268116" providerId="ADAL" clId="{721808D4-8791-4D6C-B163-D040F9971C9B}" dt="2020-03-23T04:51:03.627" v="672" actId="2711"/>
        <pc:sldMkLst>
          <pc:docMk/>
          <pc:sldMk cId="1867653882" sldId="423"/>
        </pc:sldMkLst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09" creationId="{3A06A803-1E45-4F30-A125-F68A3C033E09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10" creationId="{F591A0E0-80A6-4F39-8F2D-F9694260C86A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11" creationId="{06904484-2F73-47CD-AA19-920E221DB9EC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12" creationId="{A8BA4C29-0274-4443-A906-11C0AC64EE4B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13" creationId="{DE18C902-7AD4-48AA-BCB1-8BB83DF01F68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14" creationId="{1E3FC0DC-EAAE-43BC-9F27-65480428128D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15" creationId="{4F9893F9-24CD-40A2-B1E6-119D23071C49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16" creationId="{CBB77DE0-DB5A-4B80-BCE7-A7F38475D4EE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17" creationId="{D41A0EE7-C604-4AF2-BE40-98074990BE67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18" creationId="{0A02AB74-2EB8-4EA1-B528-8F5F8AC7522E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19" creationId="{7D21DC7F-35ED-4362-8163-5A2E264CB956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20" creationId="{C64B3EB8-8C5D-4197-BF86-5736F7442B0C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21" creationId="{166AEF3A-2EF9-492D-8ECC-B593913A1A8E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22" creationId="{A0F85989-3A7B-40D6-989E-741D6063FF3F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23" creationId="{250A5996-2742-4D49-88A6-6FE1A9C4CD75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24" creationId="{CD5E5D11-5F24-42B9-A38E-6F468859A997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25" creationId="{F13EAFF3-0E0A-4C32-83BD-43C4ACC79791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26" creationId="{EF27F3FE-DF72-4F88-A17F-94F75917F567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27" creationId="{C43B6B6D-B4DA-4C0F-986F-6F7CA85CD197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28" creationId="{6F605C02-1A06-4BCD-A136-3A91142948BA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29" creationId="{AAA77345-743F-4B68-A841-AB627FFDA21B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31" creationId="{F0BA5F4C-5945-4382-A256-AC623AC63D91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32" creationId="{C87EDCFC-E335-4758-95A5-D28B75A2E13B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33" creationId="{C1D8CF10-236E-4FB2-BDAD-161580F32CAD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35" creationId="{F0D1C0E4-51AB-49A7-A22C-3F29E20156DC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36" creationId="{ABD75C50-9BB4-4382-831F-EE762EF3DB65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37" creationId="{FF4DDDEE-B175-41F8-877F-B506C85CFEC9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39" creationId="{8FB8C93D-229C-4799-951D-2A4FDF2668DF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40" creationId="{F66ED7C4-CCCE-401E-BBC1-69A4B7B35B58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41" creationId="{327281D7-5E7F-41BE-B9C1-49A46A533F8A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43" creationId="{C0BEA2FD-8954-4A1E-B3E3-CFBA0DD7BA08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44" creationId="{9DFD4ED8-E2EE-46BA-823E-60AF0E84E3B9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45" creationId="{28EC59BE-B997-46BE-B496-BCFDED22482C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47" creationId="{6D215B52-E7A8-4BC7-B40F-C8EB74201459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48" creationId="{6C7935B4-95B6-4E50-98D2-9D42D3B7DB1B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49" creationId="{25D46DF6-B90A-41A8-B871-FDB65580CA61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51" creationId="{17FA8825-77E7-4489-B6C2-CFFC580C9638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52" creationId="{C7D3C61D-A78C-4066-A972-3B4135598A47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53" creationId="{52619F32-028F-42FE-A405-BA62A3C48D5C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55" creationId="{5F15BFD6-6EC0-4F95-8BBC-DC170B9CDDE9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56" creationId="{09682086-FBEE-4877-9BB0-A9955C0EC48B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57" creationId="{550FA280-B672-4CCD-B948-E0674DC94AAC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59" creationId="{F8E021ED-2791-4581-969D-15C67596CE76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60" creationId="{97EB43C5-18BA-4F03-9418-82C5924395DE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61" creationId="{A865D2A1-86C3-44DB-AD6C-A87E91780574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63" creationId="{15A75682-4BEE-4E95-940F-53AC34E143A0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64" creationId="{77574B1C-4F21-489D-B948-58B68D1D8B2D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65" creationId="{1108D748-B155-4F77-B274-80A7BD9CE4BE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66" creationId="{139FF1AC-1EAD-4BB2-A3D0-023E12A754FA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68" creationId="{E2D9A6E2-F5EA-419B-B863-9180A740F416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69" creationId="{7A7162BA-D17E-4DCB-8955-B74910C3F6B8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70" creationId="{0255BB06-4E89-41DD-8E8D-FA1CDAEFFBF6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72" creationId="{1FA62E50-DDEA-4303-8432-1FC6269FC645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73" creationId="{B4DE4EC4-AC55-4598-805B-8F0634442512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74" creationId="{6FD6933E-1798-46BB-9B7B-AC4228294694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76" creationId="{DCF4872B-0F2A-455F-871E-E1305F32209A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77" creationId="{F5841EB2-574F-448F-BD83-554B6B607B45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78" creationId="{CBC0898C-24A1-4C22-AA8A-5A9F97A14612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80" creationId="{86792C6B-F415-4A96-BE90-3044D2D12EED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81" creationId="{5A56E9AE-6007-4E1D-909A-C17D933D7D63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82" creationId="{2792724A-14EA-4A34-B647-582DE077C663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83" creationId="{2423D662-9A62-4DFF-9C6B-B96C48C48584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85" creationId="{51B73117-5098-4130-822E-F494B746EC2D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86" creationId="{DEB61A8D-2D83-46C2-AAF2-7898C1D3C791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87" creationId="{22CD7844-A6D6-4BB3-BC7F-C02E78BE9143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88" creationId="{FB660865-7FE3-4CB1-B0AA-1A6DED44C609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90" creationId="{D040AC09-C88B-4347-8F4B-221E958473BE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91" creationId="{777E9809-499E-4F1B-BFE6-884D50614CA4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92" creationId="{1914F914-7C15-4651-AF91-E3EE0BB7AADE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93" creationId="{CB26ABAF-8F88-4379-AC31-8B63A8F10D55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94" creationId="{EC582E08-F5AC-44D6-A48A-09C5CD159F64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96" creationId="{267F7AB8-8432-41C6-95D2-AB1620515210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97" creationId="{6291B971-C957-4A5B-AC1D-A27FB0BA3C71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198" creationId="{6BDC8C7C-1480-4E84-A237-489635E6DEAF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200" creationId="{03212716-35DA-44C3-B67D-DA05AE6CAA8A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201" creationId="{CD322054-37C9-49AA-B075-FE79328138E2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202" creationId="{F6DD32F2-8BAD-4382-A452-4EE3FBCF1211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204" creationId="{6C9F9B99-3885-4D47-A31D-543CD7F84721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205" creationId="{6B38D6F2-69EB-4F25-8AF3-A49A38A9D82E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206" creationId="{0CF0269B-437F-4B1F-AF2D-76B359AA07BB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208" creationId="{7932BE28-963C-45B4-A3E7-987C9873F2FE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209" creationId="{4633A52E-FDD9-4F57-B611-1EA74C3A56AE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210" creationId="{1D869CC8-5A96-4EAE-8F01-38088EF2F3EF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212" creationId="{D555D6FA-CFD1-49C7-A958-06107A12B29C}"/>
          </ac:spMkLst>
        </pc:spChg>
        <pc:spChg chg="mod">
          <ac:chgData name="Schulfer, Gretchen" userId="c352446a-8589-4ce1-8481-211528268116" providerId="ADAL" clId="{721808D4-8791-4D6C-B163-D040F9971C9B}" dt="2020-03-23T04:51:03.627" v="672" actId="2711"/>
          <ac:spMkLst>
            <pc:docMk/>
            <pc:sldMk cId="1867653882" sldId="423"/>
            <ac:spMk id="213" creationId="{BF16FC57-94FD-4F58-9B25-FBE2CD49FF56}"/>
          </ac:spMkLst>
        </pc:spChg>
      </pc:sldChg>
      <pc:sldChg chg="modSp">
        <pc:chgData name="Schulfer, Gretchen" userId="c352446a-8589-4ce1-8481-211528268116" providerId="ADAL" clId="{721808D4-8791-4D6C-B163-D040F9971C9B}" dt="2020-03-23T04:51:07.810" v="673" actId="2711"/>
        <pc:sldMkLst>
          <pc:docMk/>
          <pc:sldMk cId="2897614208" sldId="424"/>
        </pc:sldMkLst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07" creationId="{19084D03-C7EC-4D0B-8596-296AC07B9703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08" creationId="{3088239D-9C34-4C51-B881-1D705FA18D49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09" creationId="{2C8AFB4C-D5B6-41C6-8906-7395B2C6BB01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10" creationId="{75B7F9B8-CB3F-496D-92EA-38A76D05047C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11" creationId="{AF0D191F-DBB9-4772-BC4F-1DB6D3EEB04F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12" creationId="{948932A8-EFCE-471B-8038-295AB5DCA973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13" creationId="{17E31D12-0757-4131-9C28-2C89A547FB15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14" creationId="{63CC55E4-FFB9-4DD2-8A42-E0481F04F406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15" creationId="{9BBA20D6-8707-4D43-AFE8-AA3442C67BEC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16" creationId="{8B74D367-3D6C-40B5-A49E-A66B8C83555C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17" creationId="{FB7DE26D-7C25-4C72-943C-92CF645C4CAD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18" creationId="{C66F077C-D39F-48F7-8382-65706BD98860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19" creationId="{06D00C73-078A-4C1F-9720-8E4EEA05DCD9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20" creationId="{DCCD709A-F5A1-4978-A338-5F8E3E879D16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21" creationId="{D0F47CDE-0C58-4A93-A624-EEC551D4045C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23" creationId="{92A9928D-61F1-4AFB-803F-0A4213BB6453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24" creationId="{8C435D77-9626-435B-9074-C6339539F8C0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25" creationId="{9B32A4F2-2413-470A-B578-CDBA764B40C5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27" creationId="{15D2F1AC-E2AC-4549-AE3E-F123E8EA7A0D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28" creationId="{44B198E0-D323-4364-9715-88881E20FE26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29" creationId="{B03994B8-13B6-49AA-B7CB-2D98570376F3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31" creationId="{10694C5D-6A13-4BFE-A12D-4D040C391A58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32" creationId="{2D673CDF-A082-4C2D-9335-711ACE860105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34" creationId="{44EBC471-60D4-4E7D-80BE-AE829DBC7496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35" creationId="{2A22BC6F-F244-4A29-B8B9-085DB108FF2F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37" creationId="{158A6353-EF67-4AA1-8D6C-B038D8118BD1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38" creationId="{42FAEC83-DE7C-4DCB-B89F-8F784E2F70A3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39" creationId="{FE3A13C6-7418-4343-9725-221B29B4B3CB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40" creationId="{3BB606C8-84D3-4397-90AF-BB5E5B18EBD3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41" creationId="{89D88BEA-A4AD-4F70-B41D-B90DF08A60D0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42" creationId="{37F4BF69-E5F9-49A7-BF1D-7B2E92E12DD3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43" creationId="{5ECF75F3-BB52-4FC5-AA83-55AD08DD05B1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45" creationId="{CC2E20B1-7525-4CF2-893F-F1341859E90B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46" creationId="{04671D14-0AB6-4E82-9723-106E746A754F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47" creationId="{7335719C-0E2B-4D54-9312-557AC5FFE97C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48" creationId="{0730B9B0-3F0A-49E0-B6C6-36F455076C5A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49" creationId="{F8F6EA26-529A-480F-9994-E8905FAA4507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51" creationId="{7885526D-A1B9-45A5-9804-63B9B75BE369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52" creationId="{F3E4111E-1933-4D27-BB02-B8C7F81A620D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54" creationId="{94D8CA42-7959-4756-ACEC-F6DF3F06EA15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55" creationId="{32F8F384-C88F-4C86-B3EA-FB8B104BE574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57" creationId="{7FFA4C7B-DE6D-4BC9-B78C-E9F1BB056CBA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58" creationId="{4FF94350-1879-49DC-A2F8-899732B0BC37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59" creationId="{37139D3E-ED6C-4BAB-9F97-373D5ED942D4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60" creationId="{9ED91F57-E013-47F1-A63F-E111EFB4AC73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61" creationId="{354EE2A8-79B8-415E-804D-338808238DD6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63" creationId="{8BC60B14-8732-46D3-9477-69109A6EAB23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64" creationId="{3A4D2F8E-6211-47FF-A12C-EF4D8425EB6D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66" creationId="{46263387-3A47-4E38-B2E1-63A5CA4AAE2F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67" creationId="{2AED60D3-87D4-434B-95CC-FB4706CD68B0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68" creationId="{5E752024-7021-4F3E-9D52-A827115A0DAC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70" creationId="{F2D51378-6FF0-4425-91E2-DB4B1F97E65F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71" creationId="{CF60274A-E5AE-4906-8277-4C7687606FB4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73" creationId="{C660FA3B-84DE-4B25-A51D-4A9DBDE032AB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74" creationId="{DB34B6FD-78EE-472F-AFA8-AEBD065B74E0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75" creationId="{ABAABE9C-E230-4222-B95C-17B75C13482F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76" creationId="{5312F739-C159-4AB2-A4B7-E288F8A8ADD8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77" creationId="{1414DF6D-B049-42E1-B0A5-EEF0598CB8B8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78" creationId="{30A42BD6-94A5-4D4F-9C21-303463EC7CC4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79" creationId="{00B77045-9103-4EA0-BCF6-D83AA90696E7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80" creationId="{012C6451-DC1B-44A3-814F-4A9F572E7C6B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82" creationId="{BC2D62BC-0CF6-44E7-BAA0-18E6A525FE6B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83" creationId="{FCEC6FBD-CEEF-4EFD-821A-4D2391CC7E46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85" creationId="{BA2D3F3D-7451-4BAE-99E0-EEA4A86762FB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86" creationId="{338FE937-9207-426D-97B2-88A61ECF27A1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87" creationId="{C8C17630-1F9E-45CE-A064-BE84A0EB0BD5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89" creationId="{31A4477D-E653-4EBB-A05D-905E9CD6E7B0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90" creationId="{470A2CA5-1AC5-4CF4-B618-04120D58F51D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91" creationId="{C7DF85E4-97FB-4ADE-8294-01B21AEF7397}"/>
          </ac:spMkLst>
        </pc:spChg>
        <pc:spChg chg="mod">
          <ac:chgData name="Schulfer, Gretchen" userId="c352446a-8589-4ce1-8481-211528268116" providerId="ADAL" clId="{721808D4-8791-4D6C-B163-D040F9971C9B}" dt="2020-03-23T04:51:07.810" v="673" actId="2711"/>
          <ac:spMkLst>
            <pc:docMk/>
            <pc:sldMk cId="2897614208" sldId="424"/>
            <ac:spMk id="192" creationId="{23DCB8B0-8FB8-4BF8-8A7A-B4C38FD1DD16}"/>
          </ac:spMkLst>
        </pc:spChg>
      </pc:sldChg>
      <pc:sldChg chg="modSp">
        <pc:chgData name="Schulfer, Gretchen" userId="c352446a-8589-4ce1-8481-211528268116" providerId="ADAL" clId="{721808D4-8791-4D6C-B163-D040F9971C9B}" dt="2020-03-23T04:51:12.576" v="674" actId="2711"/>
        <pc:sldMkLst>
          <pc:docMk/>
          <pc:sldMk cId="2970169212" sldId="425"/>
        </pc:sldMkLst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01" creationId="{C03298D1-8D2E-4460-AEC6-7E583CC22699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02" creationId="{510A7454-53F7-44B2-B660-7DD3E6659910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03" creationId="{FFCCD4D1-F766-4AA2-A1BB-5DE38981F36D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04" creationId="{5A86607D-9A49-431E-86BE-3178269E006C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05" creationId="{8BAB33CD-72BB-4ADD-A7BD-575F90BDEA2C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06" creationId="{F7F72EB6-4302-4853-8AF6-32AD35B28553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07" creationId="{48F7157F-D6D4-47FD-8DDF-52A0604D32F9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08" creationId="{17623AF1-C795-44B5-B1BE-F9747F7681DB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09" creationId="{C176B0B7-9119-4529-8C17-B50850CF7BDB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10" creationId="{A01077C5-AE27-429E-AB67-811D135F6CDA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11" creationId="{84F69C8B-E17A-4285-B352-321339722EF4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12" creationId="{838ACFF6-CF22-4928-9B0F-B4C2D90092EB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13" creationId="{A6BBCDBA-9B7C-4B1F-95D5-C5A1DEF5187B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14" creationId="{7B9755F0-F42E-49B6-AF36-C4269FBE5C78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15" creationId="{49EFCF61-9D72-4025-909D-43665BFCB144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16" creationId="{73D0DCD9-2AF0-4743-B4B4-50DD3BF86AFD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17" creationId="{41FB5D4F-EB54-4FA0-A0F4-3C4B7F1D2790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18" creationId="{C9E5E2B7-CC43-4073-9EC1-1358CBF0E8BA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20" creationId="{09700D22-4EBD-4CBF-831F-7A583E1877E4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21" creationId="{D82C19B2-01BB-4F8E-BB0C-5C92BD8F2C5B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22" creationId="{FB09B614-8530-433E-9B4E-A364B358211B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24" creationId="{2C80C1FD-8D8A-4721-BD7E-E87D4826A8FE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25" creationId="{C29D54A1-ACAC-42C2-A35A-DDB01D3A4C2D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27" creationId="{3FF4ADB9-E61E-4A84-B630-1AF8A4BE17B0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28" creationId="{88B40971-7A3B-4113-8E28-0E811EF169FF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29" creationId="{2CB91587-78E2-40E2-87C9-9EBB535C064D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30" creationId="{2688A40F-6B79-4AB4-BD66-BC47B89798B2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32" creationId="{FC730D02-3752-448B-B947-A9ED28C08BBA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33" creationId="{99DF1CDF-9184-4E25-BF10-5CB2CD834028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35" creationId="{8D0A6704-B1F8-401B-8106-9A552BABE117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36" creationId="{BBCD6612-7AC6-44BD-ADC5-478A8C7508D7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37" creationId="{9D9C0D04-3A79-46FF-890D-A396FEE861F2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39" creationId="{300BD2B5-EFED-4908-8829-F4CCB1CE475D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40" creationId="{15E01815-3989-4481-8C43-27345E14F2C2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41" creationId="{7F2D5F19-8E5B-48C6-ABE0-BAC3BC64B0A3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43" creationId="{9BEF09BF-92A8-4AE3-AF97-51869B5463CE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44" creationId="{56279E92-3E02-4192-945F-181D74728BAC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46" creationId="{2D1D5209-4A62-41A6-98D0-19DBB3C687D7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47" creationId="{5A33162C-3C9B-430F-A7F5-1A3E9DEE9A22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49" creationId="{502BA81F-94AB-454E-B92B-A299AF4C168B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50" creationId="{AD46A816-5140-4694-8DB3-2DFEF82DC355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51" creationId="{578BB1C6-699D-4559-ADC9-42CE60569A06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53" creationId="{0CB6C55E-3F4F-4785-BAAB-1B4FAE806E47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54" creationId="{6081E30D-D9A1-47DF-B9D9-DCB3B91D0178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55" creationId="{B2642F9F-D1CE-4DA7-B070-3C5D5DF5D5E6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57" creationId="{43083EFC-3726-4879-80BC-AD797863B812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58" creationId="{905AE228-0183-4E6B-97F0-333A436A4E09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60" creationId="{2575F8F1-7A4D-4A4B-9C9A-49690B65193B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61" creationId="{8E7EB9AB-088C-47E3-8E35-C652003162A7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62" creationId="{D75282E4-63CF-4AE0-A6FF-717438A34A1D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63" creationId="{1C4231DB-3A9E-4EB0-81F2-AE76DD8A4EFA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65" creationId="{06BEE1BC-6553-4958-9BD9-613DE3EE8098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66" creationId="{FA1748CA-8F1A-49A4-A362-193AF4027568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68" creationId="{674B9A69-4757-402C-9070-9F3DE0120827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69" creationId="{B4E84B8E-E0D4-459E-BD3B-57EF60E0189C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70" creationId="{7FD58964-00B6-4988-9507-52D20D8D49EB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71" creationId="{63E08A73-775B-4EB8-8D25-25B43DE4B2FF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73" creationId="{E35AEDC4-78A8-48AA-8666-9C256DFFAE6A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74" creationId="{E61631A8-7C91-486C-9448-A32ACAA12603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75" creationId="{A3489F95-B216-4937-AF66-4782DEDDCBFA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77" creationId="{C5D32314-46A2-40AA-BF1B-D9E781E5ED7A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78" creationId="{9EA08C8D-5BA2-4CF5-B38B-83A547EA9831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79" creationId="{B23FC521-66E5-4D37-8B36-1A86D382124D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81" creationId="{99F60ABC-B84A-454C-8672-A2963F3536D3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82" creationId="{BE6682B6-3B11-4EAD-A0C9-C3417F548A32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84" creationId="{C6F2118B-E092-4FB3-AF91-8E8BC17E7D81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85" creationId="{465B2255-A02F-4B1A-89FF-EB3FC8FFA390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86" creationId="{72BBD0F4-BC9F-44EB-A896-D450EF499FB5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88" creationId="{87F090E5-F0E6-45A1-BB12-EBB35B2ECC6D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89" creationId="{72EAB8BC-5BC1-4FA0-AF69-670502DD33F2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90" creationId="{BA17DED2-730C-46C1-AE1A-70A448F25BD9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91" creationId="{6848DD24-41C1-446F-B777-4D48587512CD}"/>
          </ac:spMkLst>
        </pc:spChg>
        <pc:spChg chg="mod">
          <ac:chgData name="Schulfer, Gretchen" userId="c352446a-8589-4ce1-8481-211528268116" providerId="ADAL" clId="{721808D4-8791-4D6C-B163-D040F9971C9B}" dt="2020-03-23T04:51:12.576" v="674" actId="2711"/>
          <ac:spMkLst>
            <pc:docMk/>
            <pc:sldMk cId="2970169212" sldId="425"/>
            <ac:spMk id="192" creationId="{BA47DBF8-CDFE-49C9-A860-7D9557030BB9}"/>
          </ac:spMkLst>
        </pc:spChg>
      </pc:sldChg>
      <pc:sldChg chg="modSp">
        <pc:chgData name="Schulfer, Gretchen" userId="c352446a-8589-4ce1-8481-211528268116" providerId="ADAL" clId="{721808D4-8791-4D6C-B163-D040F9971C9B}" dt="2020-03-23T04:51:18.513" v="675" actId="2711"/>
        <pc:sldMkLst>
          <pc:docMk/>
          <pc:sldMk cId="7373632" sldId="426"/>
        </pc:sldMkLst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10" creationId="{DA7521CF-1988-455D-9838-84E794AA2F20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11" creationId="{93242F9E-03D0-42A7-9C55-56F08BE0D355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12" creationId="{20E50703-ECBB-4532-8F2F-95690DAF3AA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13" creationId="{B8020908-8BA7-40A4-9AAB-2D18C13E05F4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14" creationId="{AC932ECC-4A34-4063-901F-EEF369FD585E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15" creationId="{F7F7B8F8-6D4C-4BDD-90CC-A79D67FF70C4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16" creationId="{20D4B2D9-FA07-417F-BE4F-5B256169F5CD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17" creationId="{96FC0E35-251A-4376-983B-5ECF656C083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18" creationId="{4BB9D0C1-BDAD-4A58-9F1F-BB621EE268F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19" creationId="{3A91E1C3-8C77-486C-97E8-3BB7EE127B0C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20" creationId="{BD4BCF1C-FD8D-45E2-A5FE-6F5086FDB31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21" creationId="{81BD7444-CFAD-45B4-8C81-5A442871738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22" creationId="{9300A4AF-4AA0-470B-9383-71F448DFB91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23" creationId="{2929AE14-BC6D-464F-B7D0-CA7528FF247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24" creationId="{E129DF33-F618-4809-92F7-B810BC4AE77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25" creationId="{EC88AB89-C1A8-4537-AADD-396F79C9100C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26" creationId="{DE35C367-0B07-4121-8844-F991F7E24F1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27" creationId="{0117497D-8F4C-4B56-96B4-01FDD0207DE4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28" creationId="{AAC0A026-1489-491E-B4E3-6C735A52F48E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29" creationId="{7F91FC3D-931E-4773-9BA2-11F8692A5DE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30" creationId="{211A7CC0-B680-4F30-A56F-0694E5E82CA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31" creationId="{C32B9855-5C85-412F-9A73-DABD6BE0F5B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32" creationId="{55509807-00D9-4686-BD20-EEB24DFDE015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33" creationId="{45FEE456-7A16-4F59-BF3B-8846271E1639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34" creationId="{B8A9A9C0-B383-459B-98EE-E4C6495932FF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35" creationId="{A6027668-D27E-4248-BEB3-70A0C5A1F659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36" creationId="{F0806446-6EF0-4680-A207-30290AED83F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37" creationId="{81F0F29A-32B4-416A-AA0D-BACE8D86121A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38" creationId="{73FE712A-DD94-4B4F-A945-838CCBBB3446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39" creationId="{D0931B0B-4EED-4F02-96C9-DEE6E339CC3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40" creationId="{F3E7E225-9629-4664-B84C-D7F722E0322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41" creationId="{AE60AFCD-BFD5-487E-8A6B-7C598949FDC9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42" creationId="{C4A62096-B67A-40A6-A1CB-1B32FB75DD94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44" creationId="{ED4B1D5D-F86B-4436-BC22-4E0ABA5AE694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245" creationId="{4C603C2E-847C-4645-A12F-B6C5E311449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20" creationId="{C2CDC790-2B59-4CDB-9A2E-929817F5666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21" creationId="{7D249FE8-8378-4887-AF79-9D46D8A6928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32" creationId="{36DAE605-C86D-447A-A85C-CAD15A494DA6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33" creationId="{4854FCE5-1001-454B-81A4-C9284F31C21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34" creationId="{7AD25930-6F70-439B-94CC-7C2A4EBB4C0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35" creationId="{9974FB7B-AE1B-4707-BB6A-EA9445A4F339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36" creationId="{7DACC9A3-A8F7-49C7-ACBB-CE37B7059C55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37" creationId="{181B6796-6E7C-4D50-B59E-1AAE0CB4867A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39" creationId="{6A4096B7-93CC-49EB-B6F3-D541F9530FE7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40" creationId="{021178D2-EB49-43D7-A757-050738B1340A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41" creationId="{5BEA4E29-0BC0-4A00-AD79-B4F85AD43946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42" creationId="{B156CCB9-81D8-4732-B282-E7933500EA74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43" creationId="{C9A0120F-04F9-4D08-ADA3-AFBA784FF29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44" creationId="{D5E44F4E-9288-4503-B894-BB6023700C8A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45" creationId="{4C0758B3-BA49-420D-BA77-747F313BDDBD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47" creationId="{17F339D7-A4DF-4B88-9DA6-18D948FB278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48" creationId="{2907E9F4-7CAA-4D91-9267-CA053EC5235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49" creationId="{5A82F5C9-E118-430E-BB66-91E383D1F76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50" creationId="{35AB3AAC-3602-495D-9D2B-07E1D3D1E75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51" creationId="{7DFA739D-6019-4B05-9010-D6DE2549A7A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52" creationId="{EA09C143-6C4E-461F-A1C8-10813E2A675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53" creationId="{6AA4E285-0A9B-44AC-A03D-A383D5F2A37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54" creationId="{A6F7DD77-803E-479A-976F-3A7FB6BDCAE2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56" creationId="{8CEAC983-D09A-403B-9A2B-DFFB52D183C7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57" creationId="{9506E562-61B9-4C19-8801-0FAC169A401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59" creationId="{47CE9331-E59D-40EA-BD3A-0C2D6B75D4F4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60" creationId="{2EAE58CD-713C-435D-810C-BA6DA4408D97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62" creationId="{542A9F53-EC20-4375-B13C-AA1233C268BE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63" creationId="{049347B8-94A2-4F75-AD47-8D81762C7FD5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64" creationId="{7E1F0B9F-EAE1-4294-A59C-2BB93DBD86C7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65" creationId="{48D43774-5797-4BCD-8B77-9B67CA692EA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66" creationId="{E062A0CC-702E-4001-86CD-D9BCA4A3015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67" creationId="{80F9D5C8-7658-45BE-9ACA-DCE334FC51E0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68" creationId="{806D9014-69EB-4C7A-8F49-5D4983F9B7C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70" creationId="{4B0D812C-FBE7-4739-B48B-339F2CACF916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71" creationId="{C0E8530B-AA7E-4E41-897F-DB5A37C6514F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82" creationId="{0A9EB9A6-1CF6-4F8F-B9ED-02A6A84C0594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84" creationId="{136EA0A0-6F00-40DF-A2BA-66DE2616512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85" creationId="{D164EAAF-0CA6-4E39-8EC3-A5172169B299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87" creationId="{96663054-1340-4DE3-AB07-84AD2095C3D9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88" creationId="{219B7FA2-E752-46E4-A78B-420A2083E49E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89" creationId="{44D42A3B-1781-472F-B340-B0993140646F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91" creationId="{244E78DE-E2E8-4458-BF17-A2F305F614F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92" creationId="{901D3DF0-72AE-405E-81C4-02BA393FB71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93" creationId="{3491C225-174E-439D-A8CA-85700E84DC4A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94" creationId="{CF8E41AA-C5D3-44AF-BD1A-7452041FA83F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95" creationId="{294F85A4-9C31-4263-8D6A-F812A357940A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96" creationId="{6878F1AA-122C-4327-B26D-BF80D704AE10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97" creationId="{6F80FAFE-E286-460C-AA68-AA861389AD4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499" creationId="{0174A3CE-AE20-48F9-A673-DA55D4325F85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00" creationId="{09EB902B-5DEF-4F86-8BCD-C2BB9AA97C99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01" creationId="{2E0931B0-268B-4DBB-B5A8-29AFA76936CC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03" creationId="{00437935-44D8-474A-AEFA-B4A683975080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04" creationId="{6793CC27-C4B7-4BE2-8615-698A5B5DC44C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05" creationId="{0900FCDD-1134-4444-A149-D201F9FB81A6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06" creationId="{83CF46AA-68B9-4CBC-8E74-3A977E4872CD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08" creationId="{37CCC5CD-D55E-4B2A-8148-B8D968277BA7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09" creationId="{377A13AA-D604-4DFD-8465-9A1A177C3EF9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10" creationId="{553B053B-D8F3-4C7F-B8C8-69CD572AFF8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12" creationId="{E2E1341E-B027-4C12-A990-DF10B0B2565D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13" creationId="{79066E70-39B9-4285-884B-4406F199DC4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14" creationId="{6108293A-D7B5-4BE4-A5D6-FFBE4898F2EF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16" creationId="{5C8296AF-C2DD-4C81-A397-E4F95D497A82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17" creationId="{94037AA2-22BF-401C-B1D1-5B2E04F12119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18" creationId="{06464F23-D7DD-4EE5-8ADE-D439C13DDBD6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20" creationId="{F7F2CEED-428D-4948-ADED-05FB772EAFC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21" creationId="{47AC4B4C-DDBA-4E3E-96E8-8CAE98D9440F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33" creationId="{47C3E9C4-0490-432B-8965-0A147CB5F3E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34" creationId="{466CFFE4-CA2A-4348-92DC-C41BB9D2E556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36" creationId="{84EF528C-D9A9-44B2-898F-0C34242DEED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37" creationId="{31330913-A657-42C6-8CE0-185D7C49D295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38" creationId="{6EF86399-02CF-4150-ADAB-FE44B62F472F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40" creationId="{41C33CDE-156C-4135-B6BA-C3E5A7320535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41" creationId="{05BBC530-E60B-4C71-94ED-9470A76385B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42" creationId="{67E9F10D-EABF-41F6-806F-03B57E4F1D6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44" creationId="{08028FA1-26D5-4BA8-AF45-A2CF63A39107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45" creationId="{B7ECB4C5-74B6-4286-85E4-D201207A1ACF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46" creationId="{D2F61831-D298-4B67-925F-BFFF3D4A148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48" creationId="{3787EE82-69C8-460F-8CA1-494EA612078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49" creationId="{10B91E94-492B-4F8D-9804-94A2E426D41E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50" creationId="{62811480-B18F-4FD6-80B9-7D1D5096B24C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52" creationId="{57B9FFE8-59CB-477D-93A5-9C960C1EC9CD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53" creationId="{E8190E96-D1F9-4087-9A7D-22FBA869BC9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55" creationId="{EBC9E15C-4973-4BC5-8C7B-E77356A607E0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56" creationId="{5E8AAD2F-9BFA-4328-85F6-94766C069D96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58" creationId="{C5362ED1-B9F6-4808-9B99-834FDD741240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59" creationId="{2EC56FC9-A290-46F7-B130-D216BC772225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60" creationId="{406CAB1C-7C2E-4B9A-8A73-D6EABBE35984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62" creationId="{6C40B7BE-8C7C-42B6-A0BC-2FCB1E3D4AF4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63" creationId="{0AA0C493-FBD0-418B-AE11-A80351E5ABB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64" creationId="{3176228D-3041-4023-95ED-51104D3B03B4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66" creationId="{08B75302-EC88-46E5-98A1-36E54BDB451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67" creationId="{D167534E-9858-43DE-8A5A-14B63D67BFFC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68" creationId="{E4C04C54-2260-45A1-81D5-ED41E6824ADE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69" creationId="{AD5A749A-E80B-4727-9B16-DD7C188564A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71" creationId="{E1217C5F-B7E0-4D79-BFFA-F555811D5D6A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72" creationId="{7CD62443-852D-477D-88D6-ED20429C6100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74" creationId="{304893EE-06E9-4D7C-9868-306BDBB96142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75" creationId="{87748CBD-0D6D-4450-8DA0-1A5887CFDD30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76" creationId="{2A709E41-786D-4803-9EEA-B4BA53C511D2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78" creationId="{99DB6A67-6D5A-4F51-A979-171BEC9B44E7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79" creationId="{DDB7EE63-B611-4CD5-B68C-F41531F48429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80" creationId="{3C42929F-89BA-413C-ABB7-0561AC1918F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81" creationId="{B18F1591-AAC2-44CB-9636-75FB2FA46BD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83" creationId="{973B00DD-83EE-461F-95C3-636D363AD38E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84" creationId="{E68736D2-FC7D-407E-B3E7-A37F0EABF766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85" creationId="{EE1B4835-5CB0-4AEE-BFB4-EFA28E0A24F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87" creationId="{34B37675-548A-41CA-A047-048DF044A847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88" creationId="{DB909B55-71BE-4CFA-BA12-96A89AC5EC27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90" creationId="{C25A1FC4-8ED3-4740-A89C-FBDF47017E52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91" creationId="{6C0EAC3A-B014-4F2C-86C2-B3F4C7C210C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93" creationId="{263837B2-B76F-4B1C-8A31-76D2643D4372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94" creationId="{E558DEAE-4145-40DA-98E8-D72DCA65AC57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96" creationId="{8E042705-BB8D-4835-B0A1-DD543AA876F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97" creationId="{26B5E45A-0CFE-47E9-9E9F-F372BF23CCA9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598" creationId="{1515CF97-8FA4-416E-B4C8-0AD614F7277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00" creationId="{C5ED4E9C-D29D-4BA6-BFAE-6E8C651D9048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01" creationId="{EF44B9F0-132C-4E21-8973-09D6CCB68F7F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02" creationId="{23BEB8B9-506A-4C05-830B-5865491E984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03" creationId="{A970F039-1B7C-4EE1-A55D-4635B6877792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04" creationId="{0F8DBB07-E16A-4202-829A-9B6E415B7C17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05" creationId="{488E5B5D-4E24-4BC7-BD7C-037CD8C63CA5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06" creationId="{68CADFFE-2CEF-4D7C-BFAD-4F4FF3EDF3F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07" creationId="{09B5CA9C-3EE2-4781-9AAC-C3EA297112E7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08" creationId="{8F1242D8-0DAB-415C-97E5-E32EED65B62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09" creationId="{C60470B9-98A1-42BC-A3A9-F40EBF349EF0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11" creationId="{59624CBA-B627-4192-9691-BDD46678CB5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12" creationId="{4DE4B8FA-1D64-4F7E-85CF-289D9B34A122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13" creationId="{FB5D323C-3D8E-4754-93AB-C46E102CB7DE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15" creationId="{B2479778-B2AE-4BAF-A5AA-C49165AE048B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16" creationId="{98EF0E62-04C0-49C4-A8CF-FD92FEDB6F31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17" creationId="{7317F745-74FB-4D8B-838A-18122B9520F3}"/>
          </ac:spMkLst>
        </pc:spChg>
        <pc:spChg chg="mod">
          <ac:chgData name="Schulfer, Gretchen" userId="c352446a-8589-4ce1-8481-211528268116" providerId="ADAL" clId="{721808D4-8791-4D6C-B163-D040F9971C9B}" dt="2020-03-23T04:51:18.513" v="675" actId="2711"/>
          <ac:spMkLst>
            <pc:docMk/>
            <pc:sldMk cId="7373632" sldId="426"/>
            <ac:spMk id="618" creationId="{EB983E2B-9F32-468A-89B2-8F717FAB140A}"/>
          </ac:spMkLst>
        </pc:spChg>
      </pc:sldChg>
      <pc:sldChg chg="modSp">
        <pc:chgData name="Schulfer, Gretchen" userId="c352446a-8589-4ce1-8481-211528268116" providerId="ADAL" clId="{721808D4-8791-4D6C-B163-D040F9971C9B}" dt="2020-03-23T04:51:24.919" v="676" actId="2711"/>
        <pc:sldMkLst>
          <pc:docMk/>
          <pc:sldMk cId="585453547" sldId="427"/>
        </pc:sldMkLst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35" creationId="{44AB52F8-E313-47EC-BAC7-D51289D4D2A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36" creationId="{900A7B70-AB4B-4A82-97D8-5FBE931102E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37" creationId="{28767485-AF82-4724-BE96-9C6568F61198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38" creationId="{0F4592C5-101A-4642-BA33-0BFBD80332A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39" creationId="{30F79A9A-225F-4CAA-828D-500B45FA3FF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40" creationId="{4DF99B17-5580-4391-B854-FBA8E8C958A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41" creationId="{A8303448-B74D-4895-B560-6F3DB423F41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42" creationId="{FDE9C6DA-E0E3-4F72-8F0A-91E3F8C7CE3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43" creationId="{820CE5A7-B6F5-4A01-BB1E-54B6562D1C1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44" creationId="{FB9B22C6-45A3-4A29-B5BC-DB62C685D62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45" creationId="{03BCFBE5-46DA-423E-B6E3-F87FB323740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46" creationId="{8C30F918-285C-4D62-A465-87B9D2BC2AC8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47" creationId="{098D091B-6C7E-4534-B28C-4BB5BEC2A7C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48" creationId="{CBB434DB-E3F6-472E-9D8E-0795B1FECD0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49" creationId="{23E962F2-2C2D-4FD8-8EA4-D90D4FD178A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50" creationId="{196AA8BE-9AE8-4E17-A6DA-0205AEBE662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51" creationId="{EBD1CE58-00B6-4522-8CCE-0B2D649D6EB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52" creationId="{8A708577-F557-4EB8-AA43-A2FAD67B1F6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53" creationId="{B00C3CA0-ADFD-47DC-9C86-10C1CAE0ED5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54" creationId="{B31C91CD-AD8B-49C3-A804-02E58E1E66F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55" creationId="{D8851F2C-2C14-460B-924B-25C83E2E46EF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56" creationId="{613F21EA-6459-440F-8032-C4CF2014895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57" creationId="{97AC7A0B-1AF3-4710-982E-7D2EC3A119E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58" creationId="{B0C89A72-128F-4D5A-9A83-5033E73DE85D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59" creationId="{9CE3277A-6338-4771-BA88-0552501B3C1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60" creationId="{0137D92D-7B6A-4FA6-96BE-0C447E4A969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61" creationId="{E9763C82-B98C-47AD-91D4-D7672CE4ECA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62" creationId="{CB2F92E9-A916-460E-8E03-961CB8C2C09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63" creationId="{C0C90776-A885-46CD-905B-30411F26A637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64" creationId="{BBE33BA3-8531-4B86-A620-8C4FB8F9697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66" creationId="{2B0B554F-0727-4690-A0AC-828468CB396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67" creationId="{E56441FC-187E-42B7-A538-64913142BA7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68" creationId="{E91DEDFA-85B7-4245-9BB4-F9F1942A6E6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70" creationId="{D2F10D07-DC8F-44CB-9113-E928E09A316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71" creationId="{206398D3-0A04-4A11-AEF0-8069CBB1322F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82" creationId="{C32654EF-66AB-40A0-A0F9-1BB7D81105E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84" creationId="{96E53F48-2189-46FD-8869-00104858457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85" creationId="{65C9E199-2DB0-4B1B-91C6-45947BDC0A28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86" creationId="{7874335E-0D8F-48B6-9480-0B7B2C77B74C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88" creationId="{D26ABAD5-8AA2-4443-A873-CB6396AC117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89" creationId="{521BF5FC-0677-4BF0-A9B1-BFE48AF347E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90" creationId="{1277A01F-FD02-4D7D-AA0D-75288DCDF66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92" creationId="{9D1C1D62-F95F-4C1A-8930-833F755E6DA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93" creationId="{DF46E1AF-39C8-4CE9-AD60-8795BF3ADFA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94" creationId="{152D64BF-6BE3-491E-81D7-3F422504CE0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95" creationId="{480D18A4-2D1F-4A2E-9BB8-47362CA096A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96" creationId="{44CD9A1F-59A7-41D2-A53D-A1345937A2ED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98" creationId="{44A02E98-1E0F-4C6A-8778-2A39378DB95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499" creationId="{25F2E786-D245-496E-9C8C-52E04D0FD7E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00" creationId="{C8743C08-4502-4F8F-B010-C79A7AF9E4D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01" creationId="{DE598E41-9598-4639-80C3-EB8C53A1AE6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03" creationId="{245C9CB5-F306-42B3-9300-6CDF68D6A30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04" creationId="{41071573-EF91-442C-B9DA-FE43D7DAFD47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05" creationId="{7DCCAC1E-0C51-4801-A1AD-D479F914E70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07" creationId="{3BD62C56-DF23-429B-9AC6-93311D74106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08" creationId="{30F04C5F-A75B-4F32-B784-7907CE4A909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09" creationId="{D6605B78-CE72-4338-AEAE-996D0E5306B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11" creationId="{91E91BC6-6A8D-44CA-9909-418B0D43084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12" creationId="{CD8CD22B-8757-4A76-9ACA-AD5BD2219AD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13" creationId="{21BE2D12-8CAD-471D-AD74-75FBC865A6C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15" creationId="{310C1EB9-8B82-4388-9624-5B1F3852510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16" creationId="{CC73D02A-BECB-465E-B799-9B00CC79F38D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17" creationId="{644C7C14-EA5E-43D8-AB77-6C615E9D767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19" creationId="{C3FCD569-32FB-4D76-A1FE-FD9C2DA31FB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20" creationId="{B9D8E8C8-1705-4242-8516-E71A77D5518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79" creationId="{BEF77BC4-0620-4169-9287-FE682090A54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80" creationId="{75A73CDD-9E25-448B-B6DD-98B6DE9084D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82" creationId="{977A713B-DE1A-4920-A531-C26A06D050D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84" creationId="{4B1D543C-99BF-4976-B4A8-63C3C34156B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85" creationId="{F00EAEEF-7899-4568-9A3A-28EBF304656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86" creationId="{47BB28EB-765C-4BC5-B765-D106D63A798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87" creationId="{333EFC76-379F-4199-A300-8F17E57600A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89" creationId="{EC03443E-F533-4A36-9633-A7C60340A15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90" creationId="{12FC905E-B676-4763-B4C4-982F81B4A09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92" creationId="{0EDB60C0-A571-4527-82C8-2E48CB76D08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93" creationId="{50B3603C-40DA-4469-8902-D0BFBAB097F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94" creationId="{B36F4755-F954-4C80-9980-75D58176E44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96" creationId="{446F3F30-83FF-4683-AD77-D3395AF84FE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97" creationId="{5507A72F-1784-4952-9AA2-0630E3CF72A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598" creationId="{2B590144-1003-4229-A1CF-F905AB4706CD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00" creationId="{9A57658B-4BC2-4627-91FD-ED9E2A370A7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01" creationId="{4AE11F1A-5D53-4857-92BC-6F5CC18CB6D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02" creationId="{41190947-8BEE-4FB9-852F-3DC8947A298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03" creationId="{C46AAADD-9AAB-4841-A7C8-F79F074250B8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05" creationId="{2EF64F83-A05D-454C-A0C3-C339C10ED78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06" creationId="{4DBC95A6-A79E-42BE-9F07-95563860592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07" creationId="{85A89295-35B3-4D12-8E75-125D9FE97910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09" creationId="{4C582576-49C9-47E2-8123-076A0502BE60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10" creationId="{FA7ABBF8-00BB-4E98-9CAA-3F16B42EBCD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11" creationId="{323E44E0-7F86-4E61-BD51-294816E5E66D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12" creationId="{EF37B8E5-02DC-4B43-A19F-7B2914EABC7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13" creationId="{AA6CFA7C-2C0E-45E5-9B88-BB4A98AD962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15" creationId="{C802C904-CBAF-4D81-B470-E4CD0FF42FB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16" creationId="{62DA824C-9B58-43E0-8AAF-BCD330224B68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17" creationId="{02338370-DF7C-48E4-AAFE-4C75A8F0D3A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19" creationId="{E46ECE80-AFC5-4934-9F24-F0EBA697B5B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20" creationId="{2CA5CED0-0AC1-4616-B536-82C0D36ABD97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22" creationId="{77A48328-1B45-4FC8-A580-2650082CD520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23" creationId="{D1ABDE79-A5AA-4E4C-AC99-225F63075ACD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24" creationId="{FCFD7A0F-99EF-423F-AF3E-7B170D320877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26" creationId="{23395AF7-A533-41AC-9E0A-27E79996C36C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27" creationId="{B5ACD7C6-9CFD-44D3-BBB7-6C38AB649AB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28" creationId="{9DF6025B-E180-4692-BBDE-FFF1519F0E88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30" creationId="{2FE624C3-3EA2-45AB-B608-73613D2B80C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31" creationId="{B0DB3BBE-5043-428F-A217-43B21DA3A2D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32" creationId="{B561E9B4-FBE7-4AB4-BFAB-5DFEA6755B0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34" creationId="{0173B024-48F5-4DEF-9C28-1FC8CC15E4E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35" creationId="{FE98BD89-0BE0-4E67-9DEB-F852384AC8E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36" creationId="{3F5488BC-255F-4ACD-A9A8-2C4380E2581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37" creationId="{9C0FE3AA-F62C-4EBE-8A18-EE0242ECF0D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38" creationId="{9D4C45AE-D597-4C99-AF3E-FC2473B41F47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39" creationId="{62B093D0-D023-4DCF-88ED-064EEED1AA4C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40" creationId="{0E594814-6929-4318-8CDA-6A1A3127938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41" creationId="{79692323-5B3E-4289-B0AA-5DB3BDC8BFC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43" creationId="{C77B22A1-13DC-42A6-8766-65D8BA52A99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44" creationId="{A39CEA0D-0B63-4D72-BADB-67F4C25A080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45" creationId="{907B5110-B66C-4EA7-93B4-B678C3FBF92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47" creationId="{A441C5F9-A1BE-4B9B-BBCD-D44A4F75736D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48" creationId="{78CB94EC-F1BA-456B-AA56-420B6C7E1B3D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49" creationId="{4BDEC9DB-1EBE-4166-BF97-CA586B66AC3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51" creationId="{7CC2AE00-99AC-4AA2-8C39-B041B5978CFC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52" creationId="{DFD05582-8688-4AAC-A38A-19D3B691EBB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53" creationId="{79596FBE-F53C-4385-A46A-B6F6A38A13FF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54" creationId="{E8D71158-0A9D-40D1-8BAE-9409385F501D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56" creationId="{D3842A8D-EC6A-4345-90EA-8B2D189C95CC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57" creationId="{8E0E5845-BA2D-475B-B955-95D3C6DCDEA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58" creationId="{CAA93F8B-2CFA-44BE-86AD-22E7A82CE108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60" creationId="{010E6810-D25E-4CF6-AE7B-CD53C2E7F57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61" creationId="{2F33C390-386F-4100-97EF-F6670449AD4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62" creationId="{A7763583-9AF9-46B2-9B6B-D55FCBF03BA8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63" creationId="{6A68EC3F-9026-4B26-8B27-FB3A5E7A0B27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64" creationId="{019EB2EE-903E-4259-84D7-71C1EA6C4D1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65" creationId="{CF6647AC-F94A-4562-B6FC-D5EA53CA3E2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66" creationId="{E72E6EB1-C839-4BA0-80B8-63E6190C7C5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67" creationId="{C45F12F9-C6D0-454C-94DF-AB1BA4122DB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68" creationId="{C3B364D2-7500-4B6B-8383-9CD441D5231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69" creationId="{415E98C4-C9C7-46B3-B702-66B3133EFCD0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70" creationId="{C3889AC3-9E34-4C01-8C39-FE87CA526CE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71" creationId="{F8C570F6-26AE-4F08-9A7F-2F5E9A1D1B4F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72" creationId="{BEA04C3A-7225-447F-A005-E539F38014D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74" creationId="{D715216F-106B-41D8-8008-21CC5F8E9D5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75" creationId="{34B61254-BDF4-4240-9183-D5015727FC1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76" creationId="{92E1F11E-6470-4F93-B951-E419E063D29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78" creationId="{2E68E82A-F834-4C61-B065-D7E5929DA88C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79" creationId="{10B4CB58-F5B6-4C78-BFD6-4D515B90E97C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80" creationId="{AE00AA19-9E2C-4A90-B7AC-48795908FDB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682" creationId="{365D182F-2B4D-4315-AE38-1A12DD757C9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02" creationId="{F50F9622-A250-49E4-B41F-2F41FCED29F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03" creationId="{FE8ACA2F-9588-44C9-900D-31003E0631A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05" creationId="{8A511D75-C286-49BC-8566-A322689C45A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06" creationId="{B851AB16-FB13-4141-B888-E5E1D30613E0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07" creationId="{5EADEE60-B408-4C62-9911-ADE6275DBBA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08" creationId="{60367F3E-B8B1-4A6A-BE7E-C1AA0797435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09" creationId="{1FBF3422-E2F1-4B96-95F2-C5887D9D7BB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11" creationId="{14962122-433D-4C95-A0E8-89A505450F90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12" creationId="{7A5BAC13-6E99-4F32-A787-4A5A236BEA1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13" creationId="{0DDEDFE8-9D31-42B5-8ECC-732608D581B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15" creationId="{BB238363-4B26-4F59-9333-9AEE915B7E1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16" creationId="{CD6B6179-0242-4E64-A450-638297B2190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17" creationId="{0D3170D7-CCB1-464E-B881-E6512937600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19" creationId="{060FC87C-C32A-4240-9841-D8E2C051FCF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20" creationId="{4D29E4E7-2AB3-4F88-A6E6-607CB3FAC8B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21" creationId="{682DCB98-922F-42AD-A2E2-C6E506071B2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23" creationId="{9C70FF28-26D5-4993-B24B-9E3FD962B73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24" creationId="{4DC54F96-9C2B-4345-9854-FB002C209CB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25" creationId="{5E3447E4-6B71-4C83-B509-DF2326778598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26" creationId="{E28DB2C2-3096-40C8-805E-288B1F373A2F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27" creationId="{A4F7D2D7-83EB-4265-97F9-72824BBB7528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28" creationId="{ED762CB9-8D9E-4AC2-8440-05D66EDA9F08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29" creationId="{2F3A9D9E-05E5-490A-876A-7A0666F6DF7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30" creationId="{E08E2242-DA91-4920-8FA8-4CDD920CADC0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32" creationId="{65304FAB-32AC-4092-870F-2FE9AF49229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33" creationId="{C3DD9B25-F9AF-462E-A2AD-854A5F2658B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34" creationId="{881E2170-7C8D-465B-896F-8CB331A63B0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36" creationId="{52F19F58-6164-474D-B0AC-A369B05B76C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37" creationId="{8CECFC35-13A4-427D-8B10-3B44EF7ED29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38" creationId="{226DB4D3-B068-4413-9E10-4ED15FE609C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39" creationId="{482A14F0-8EFA-43AA-9709-A34B62CE22A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40" creationId="{715305F4-3177-4525-9054-EFEA2CE856CC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41" creationId="{166CDFA0-A51F-4B92-A163-0F983060B73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42" creationId="{935C6633-444F-4D3B-9C7A-010E1DFD306C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43" creationId="{856F97EA-9642-4169-8DC3-8D2C2586E78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44" creationId="{45B3BEDF-4312-469F-A48A-CFC4F2D79E8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45" creationId="{35A82683-0282-4055-91D8-879D440018B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46" creationId="{B2F494D7-652A-41DC-A9E3-AA998D41A0FC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47" creationId="{D4206B36-2BA0-4639-8D92-86EA152D376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48" creationId="{2EA11F88-BA0E-4566-A3F6-D8C032C11CC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50" creationId="{024FCF9F-F9ED-4824-945E-535E7BFAD89D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51" creationId="{2DC7D8E8-2BAA-4131-A5D9-F4610603129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52" creationId="{2FA30F5B-5548-4959-8CD5-A91A2A7CA013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53" creationId="{23DE8E4D-150A-4FE9-A570-D635FC7A5CC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55" creationId="{59A40176-B18C-4687-A5D2-40AFE61ED9D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56" creationId="{3C326150-5D5C-4860-B107-10CE8420461B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57" creationId="{5C728104-6D87-43EB-971F-2748AEDDF2BD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58" creationId="{11786D71-8C49-4B53-BCA0-C6B3034B4EE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60" creationId="{63BCE6C0-045E-4D93-91BD-5EF7C1CEC4E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61" creationId="{399A8BF9-35E7-4A56-AE74-C480430692D1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62" creationId="{CABA527F-57CE-4AC4-BE3D-BB579AE1F58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63" creationId="{68ECC197-1427-43B4-B5E2-2FC0309D372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64" creationId="{0EF9E6E4-69A4-4409-83CD-986D9ECDCBE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65" creationId="{2E4A2E1B-2F6A-4DB1-BA9A-354126F85EA4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66" creationId="{616D1326-030C-4D0A-842D-A5053038250F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68" creationId="{DD5AF087-1D34-4153-9DAD-CFF3E667389F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69" creationId="{BEFE25C4-52E0-40F6-A01B-7151FA12BCB7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70" creationId="{6295A4A1-480C-4324-A34F-446E158E32B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72" creationId="{7D2F41BD-F9CF-4586-83ED-86D607CEF02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73" creationId="{CA0E1141-DC08-4F55-93EF-A655F95D3BC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74" creationId="{D259D868-8446-414A-9565-33DD8AF62C02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75" creationId="{F7AB287B-DEC0-40BD-B48F-A7D6B51A621D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76" creationId="{DEC6DFBF-102A-42A5-9071-D4F767C3B519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78" creationId="{82C03226-E9AF-4613-BE34-563A966223FF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79" creationId="{B33F3027-F666-43A7-B2C8-0327B49F8D55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80" creationId="{6030FBA5-A8DC-43A6-8FE9-A353C15720B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82" creationId="{4ABF1F0D-4293-4635-8EAF-F110865A60CE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83" creationId="{E6AB01E0-D3EC-4FB3-AC31-F61D77D7679A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85" creationId="{8164F342-3FCE-4BD4-BF3B-7BD7AD4A2BAC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86" creationId="{15FBD975-91A9-48B9-8593-60CED4F23966}"/>
          </ac:spMkLst>
        </pc:spChg>
        <pc:spChg chg="mod">
          <ac:chgData name="Schulfer, Gretchen" userId="c352446a-8589-4ce1-8481-211528268116" providerId="ADAL" clId="{721808D4-8791-4D6C-B163-D040F9971C9B}" dt="2020-03-23T04:51:24.919" v="676" actId="2711"/>
          <ac:spMkLst>
            <pc:docMk/>
            <pc:sldMk cId="585453547" sldId="427"/>
            <ac:spMk id="787" creationId="{7DB028D3-4ED1-4E6A-B4FD-B0E2AA83ECC2}"/>
          </ac:spMkLst>
        </pc:spChg>
      </pc:sldChg>
      <pc:sldChg chg="modSp">
        <pc:chgData name="Schulfer, Gretchen" userId="c352446a-8589-4ce1-8481-211528268116" providerId="ADAL" clId="{721808D4-8791-4D6C-B163-D040F9971C9B}" dt="2020-03-23T04:51:38.967" v="677" actId="2711"/>
        <pc:sldMkLst>
          <pc:docMk/>
          <pc:sldMk cId="3263624276" sldId="428"/>
        </pc:sldMkLst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49" creationId="{33D3BB51-D9F3-432C-BDBB-20E0F529F4F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51" creationId="{1875B663-D8A3-4F06-8681-AF22796A226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52" creationId="{17B9A34F-3139-4FFE-BDBC-31C8CD34182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53" creationId="{732E10BA-4E7A-480D-AFD1-70825A06B48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54" creationId="{D79D961D-353B-4C9C-A6D8-F8442A25FC9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56" creationId="{1E49DDE8-F447-49DE-8F9F-4522F63119A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57" creationId="{ABC73558-49E8-4151-B8AC-DC1940BC1EE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58" creationId="{35E1AB2B-961A-490B-9B0F-F13E4730434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59" creationId="{89E21072-AE30-42EA-8D09-348BA8E24F1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61" creationId="{A93BE039-5ED9-4442-BCD8-E6BC8C8218A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62" creationId="{6D1D5C2B-E65D-4FF2-92FF-329CE4C1A65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63" creationId="{51170754-CF2D-4297-9B8C-751D2B2B598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64" creationId="{377A8FF8-6B2A-4A3E-AB1A-C78B33179D3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65" creationId="{FBE417A5-3086-440B-BC33-852317266CA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67" creationId="{AED208F1-35C4-4D95-B82B-EDDC8221797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68" creationId="{DCFAA607-A310-45D7-8A3C-9F402E5B40C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69" creationId="{77640C16-C844-4E7B-A875-9870A9C5C54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70" creationId="{2C2CA858-27DB-4861-905D-8EE97D84027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71" creationId="{9C7F32BB-4A09-44D0-93FE-5F538C83155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72" creationId="{47F54F3F-2B97-4246-8A91-5FC63EBBA74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73" creationId="{6A0B33E7-CB3F-4D2B-A55F-2B82C3055A6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75" creationId="{99B1232B-5BC8-4D52-984E-E068E7772F9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76" creationId="{A40A83A9-A004-47C7-912E-FDB9B253A01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77" creationId="{E5B72CF8-7CEF-476B-871D-3A12A93167A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78" creationId="{CB638187-EF4B-4249-B23C-4CAF5442D91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79" creationId="{6D0081C0-8167-4456-8C8F-115501485DD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81" creationId="{280D521A-3A21-437C-95EE-F3704A321BD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82" creationId="{DDC31EBF-BFF1-4A10-A85D-873474CCEFA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83" creationId="{38C29437-7CA7-440A-A703-2B67B448C80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84" creationId="{EC6DE070-6344-4F5C-ACD8-82F91DC1336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86" creationId="{6A87FF88-7FBF-4F30-85EE-3D06556439D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87" creationId="{D9B8432A-5200-4AE2-95EE-11716DBDF66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88" creationId="{C4A49391-7666-4CF4-9EF2-38E0551F3BB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89" creationId="{8E7A936F-9C44-49A5-A0C5-F1CCC1B5DD9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90" creationId="{035C8F80-E773-4E40-9C54-B4D26AF49CB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91" creationId="{29275F24-1238-4870-B7A1-81243DED303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93" creationId="{5C2D0593-859F-4729-A4DC-21B974F63EB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94" creationId="{F6841EC0-5F9B-4F0D-98DD-7E555DC062B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95" creationId="{B1E5849E-4324-4F76-9548-0CE07AC17DE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96" creationId="{58A8BB56-BF1E-429E-B8A7-682940D0FB9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97" creationId="{957CFCE4-5174-4497-B72B-3C48DDA8E47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399" creationId="{449956AA-BA7C-4252-B7CB-3B6EF521501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00" creationId="{70E92FEB-2F76-44F2-986A-E375C4444BA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01" creationId="{D24083BD-426C-4C3B-A632-77FA4D921A7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02" creationId="{169BD049-E4FC-4FDF-87A1-E57BAAADBD3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04" creationId="{A3FB4919-C384-46B1-AB6B-B588D94B9A0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05" creationId="{D19ED951-8627-4E77-847C-0B00365F05B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06" creationId="{F28CA839-7C75-4F7A-B226-91734FCABDF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07" creationId="{6F9C9B9B-7631-44D8-9FD4-4CB8C1C58CC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09" creationId="{885904AF-20EC-4B75-892E-39460FD97D4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10" creationId="{568F5826-46CC-4FCD-8CCD-C4B7B82F7BE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11" creationId="{7ED49CB4-2123-472A-AB8C-5415649DAF1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12" creationId="{56DDD562-CA72-47A4-B815-A2D36E2BEDF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13" creationId="{5DAB0865-FAF5-49BA-A26A-A8F09DD2903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14" creationId="{E00AD58E-CC4B-40CC-BF0D-BF7ACB4929E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15" creationId="{42EED8D4-F805-4559-AD97-26A07F3B35D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16" creationId="{F61EFF0A-27DD-459F-BE63-84582E3B367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17" creationId="{C15599B4-F6E1-4D76-A62F-103D8BAA947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18" creationId="{6956E9A1-72A5-447C-8EA7-280A7D96527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19" creationId="{97C9A1A2-5B1A-47E6-ACBB-AB7602B4841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20" creationId="{DA354749-4E27-4854-9626-02ED9579B1B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21" creationId="{30E526F5-4D55-4F63-9E91-1D2F8C59790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23" creationId="{13498AAD-F8C8-416D-A58C-B61914153E7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24" creationId="{7738F555-5D7A-4F92-87E5-043BB6C11B9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25" creationId="{81F3CF26-8906-4AB0-8E71-047708BE1A2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26" creationId="{398CDF1A-079D-4276-B37D-49B8B2B8A56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28" creationId="{C4356AE3-AADF-43E6-8147-D4BBA7A2E38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29" creationId="{657DC25B-95EF-4398-9E1C-654E220AAD8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30" creationId="{A01A1C9C-C838-4D32-A4EB-F24F76CE6E0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31" creationId="{E0F69CDF-7AB1-47A1-8066-4BEE1534391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33" creationId="{863E7AE9-BD73-4734-906C-16FD6C3EC35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34" creationId="{97226FCE-C5FC-4AED-B0ED-60AEFEB97B0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73" creationId="{6EEE3EAA-4A5F-449B-A9AD-F8F4C385492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74" creationId="{16FFC5AB-EC91-4C40-9204-EFD87A68CC8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75" creationId="{E8AC913F-DCC2-4991-8511-E370894BEFC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76" creationId="{D62C23ED-DBB2-4DED-9B1B-1B3A84C9D00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77" creationId="{56166320-5EC4-44F9-B46B-0AC1649E2D6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78" creationId="{3735A3B5-2430-4B51-A6FE-5A35D8D0E02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79" creationId="{6929EB15-7EED-4B05-B82D-E16B0217CD4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481" creationId="{52E2F426-EB03-4CFD-8C41-B5AD1A518C6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22" creationId="{F912C468-0109-468C-9B88-7E54F3880CD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23" creationId="{D4B33151-EBF3-4DD4-860F-54AB66400C3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25" creationId="{C266DDFE-EEA8-4704-A388-1ABD9350B70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26" creationId="{02C108C4-F15B-4D57-BABB-72AC6EDDFDC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28" creationId="{F7252838-3998-445E-A9D0-BE62186B9C4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29" creationId="{0B6679E2-11FF-4F18-9D42-BE15EE179F7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30" creationId="{B3E5C5F6-2F27-446F-A9F5-357DAB19EDD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31" creationId="{5CB946F8-1AB5-47EE-BB07-EF00339CB7D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32" creationId="{510E172A-9EE3-41CC-969E-B504B7E734D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33" creationId="{BF7A7B00-F2F7-442C-B646-E6F64A12CB1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34" creationId="{2D5DDF19-DC16-4CBE-9DFB-D54B963A567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36" creationId="{0C30535C-624A-4F29-80C8-CE66E186A68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37" creationId="{65F98C33-9133-4C20-B3EF-8AA0306D33C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39" creationId="{10B283A7-A8B4-4CD0-AC05-59574431EE2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40" creationId="{6235B0A5-EBC0-44CA-8F9D-208B4229307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41" creationId="{BAF534D2-78BE-410F-BC24-6DD0F7C62DC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42" creationId="{4F454EDD-A93F-482B-B1F4-8488413E603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43" creationId="{662A5249-EA39-4D5D-BD43-FEFC523FC12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45" creationId="{6B4BDFBA-822F-404A-A8BC-42937F5F61D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46" creationId="{63E56B85-AB5F-4730-9E17-5B2849BD8FC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47" creationId="{5CA238C4-6361-4207-BB1E-F111DBAED4B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49" creationId="{F72911DD-B0DC-416D-8483-C652A311430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50" creationId="{2FC268A1-AA76-474F-9FA9-439578314D6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51" creationId="{CC4015D3-279B-483F-9DD1-32B9B2144B3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52" creationId="{939114A8-A06F-4B69-A1E7-8E9FAE3802E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54" creationId="{CE1A78FA-168B-4253-A039-37A0538A325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55" creationId="{32F68236-AAB2-4A45-8031-0D460CC0CBF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56" creationId="{2DBF0706-18DE-4B4E-94DE-88550F58DD1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58" creationId="{7A08E94D-23B9-45D1-9EFE-78236A319A4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59" creationId="{694D1C07-BDD1-4F23-B0AD-E3FD559E394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60" creationId="{B73F8105-513C-4469-99C2-D0DE5747B3D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61" creationId="{51D7D7F0-7FE9-4495-A49C-BCE8E57C806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62" creationId="{40C1F674-EB7F-4183-944B-EEC496617C2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64" creationId="{F407BEB5-CB84-4C45-9325-DFDB449E6A7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65" creationId="{94BAE940-257C-4DDB-AC21-C7CE729C4DD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66" creationId="{90DA22D4-0055-43A0-ACD3-2BF05BA9ADF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68" creationId="{FA5668D2-4FCF-4AD9-8E12-0099D5F2EDA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69" creationId="{E2F2EB13-A0E8-4C0D-9A0E-F725E7FD16A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70" creationId="{D4CEF26E-D9E4-4D5C-B4B2-FF921266366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71" creationId="{634B8132-1B6C-4F31-B518-BD556836682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73" creationId="{50556C6E-3162-48E2-9BEA-62EC78F774A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74" creationId="{3E3A828D-1EC4-443E-BFBF-1038CA24348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75" creationId="{9E65C702-6527-4BBE-9321-B842380D118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76" creationId="{6D956E62-A4BC-49C1-A92B-9EE18F2D5B2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77" creationId="{5EEF8E18-B261-49A0-BF5E-5496412A1BA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581" creationId="{3B673C98-2A27-469B-8D97-C7284FC23EC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83" creationId="{EEC8CADF-6C67-44E3-B44F-7F78B96C6A53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84" creationId="{F5C685D1-B744-44D2-A72A-FCE1B188792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85" creationId="{4FE9038F-E933-4D52-8487-EE6F1454A17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87" creationId="{E779034C-7152-495B-8119-80EC0E8ED0C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88" creationId="{284E7977-1F64-4D62-98DC-7880A389863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89" creationId="{A7A72B52-5438-4C27-A7A8-5CAD13F76FD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90" creationId="{3B01AAC3-FCD8-4A45-8051-1852FB5A683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92" creationId="{A17E6EE0-6BAF-4075-9006-0D4FC31EE42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93" creationId="{2041ABB9-3F17-4A9B-BAB2-0A8DD84EC7A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94" creationId="{EA7C0EA1-88C8-4DDD-8E6C-9F033FC81FA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95" creationId="{37016988-6F88-433F-9A87-7881F81D6EF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97" creationId="{385AEBCF-B57A-4585-8EAA-79C8E582977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98" creationId="{717B7C05-2529-4CF9-A6BB-D2B024C4152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699" creationId="{5B218DD7-C99E-4AAC-80F8-B0A5FEC4300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700" creationId="{83B45711-3BB9-4B57-94A0-CB6057DCEB83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789" creationId="{392D12FE-EF94-4611-9A2C-BC00548085C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790" creationId="{2546B9FE-3119-42CE-87A7-50509F73AD2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791" creationId="{FE2468AD-8EE4-4E2A-B3B1-1C00290704B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792" creationId="{245D7A55-D167-43FD-934D-1D1D103E7273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793" creationId="{2FDE29E6-2030-478C-970B-E409AD83500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795" creationId="{57D08E84-8201-480B-8584-71D8AB6A2EC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74" creationId="{7888B9FD-3667-474F-ACD5-D54B85458CA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75" creationId="{AB626048-A86A-49E5-82C4-66C195177CB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77" creationId="{1457899E-FD9F-4BFA-B14E-B9CB866033B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78" creationId="{BA578A36-9CE6-42A4-9D8B-24E24D4D8DE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79" creationId="{71373897-3470-4271-8EB7-464F0C27C3C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81" creationId="{F9E68B21-90ED-481C-BC94-AF82C3BB3DC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82" creationId="{9D17FB26-8220-461D-8A19-0E336B4EAC1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83" creationId="{B6DD4BB2-6C6E-4294-A6A8-F04D5F711F6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84" creationId="{543F3A61-E34F-4641-AFA3-6950EE7EC2F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85" creationId="{568699C8-21AD-4570-991A-83E0A935791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86" creationId="{6294FA0D-506B-40C9-924D-47219484488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87" creationId="{1BD279C0-2F3A-49B4-8A3B-C64A2D94915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88" creationId="{09EF3E8A-BEE6-4C6E-9601-4021E44027D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89" creationId="{646B6050-19F1-4023-9DBD-917486F53BC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90" creationId="{C8A26FF4-B34E-4CD9-84A6-155DA1D42E33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92" creationId="{38A17627-363C-4470-87D0-E79AA85B4AA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93" creationId="{2F6AFF70-FFFE-4FBA-AFA9-488FE1CBCD2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94" creationId="{CFC2A719-06DA-45A8-BB7A-F0136DDF0CB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95" creationId="{41921887-61F7-4C78-B938-8E7FBD61024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96" creationId="{D8113DDE-8FD9-4551-B74D-F9B661FF7F5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97" creationId="{F527AF02-23DF-4AC2-B605-D61AC86E125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98" creationId="{A98730E8-F996-4C86-8A67-E6DF4CA1519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899" creationId="{8DE1C895-83E1-46C8-8CB1-05AA41B263A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00" creationId="{60511C6A-142B-447F-BFFC-BD2B4E45557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01" creationId="{747A999E-E190-46BD-AD03-DBF682ACDF5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02" creationId="{9B54D7F7-DB38-4CAA-AB2F-C10C46028D7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03" creationId="{5B2A1D0C-243D-41BB-9BA9-7FB5B6F09C23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04" creationId="{D9D1259A-8427-477C-8E97-E72646BD034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05" creationId="{4A0AEDE1-FBD0-48D3-8F76-23F45F67626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07" creationId="{31CAC508-D8DE-4644-8F74-F4D4254832E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08" creationId="{1B51BADC-6E19-4300-960B-D2C5D5F250D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09" creationId="{51D5CF33-4784-4680-8F84-0F233F58CD7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11" creationId="{0ED34DB9-CE18-49E0-98E1-E82ED46C79C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12" creationId="{5FB81AC6-4A8E-4734-B204-A20FE9CA6E7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13" creationId="{395506B7-310E-4642-A1C0-02C0757715F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15" creationId="{B900D3C3-F894-4130-9A17-30825F26E24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16" creationId="{8525F838-6889-48A9-B192-F1F80EA76C63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17" creationId="{EB6AE3E6-5CD5-41B8-9EFE-080A72E9C40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18" creationId="{B7934C5D-7FBE-4F52-A0F1-8569D0D48F1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19" creationId="{1AFCC423-4418-425F-8BE2-45CD2BC7591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21" creationId="{41915648-45B1-48E9-B536-3116A827B59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22" creationId="{48871DA1-49DA-4148-8787-F9BC49BA259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24" creationId="{F12D81D3-7605-4693-BC41-AC6D9F86878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25" creationId="{21383AF5-EEF6-421D-8525-8EFA777621A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26" creationId="{34B68460-C881-4F7E-96FA-5D4E1FBB63C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27" creationId="{C98B3F6D-FBC2-408F-901B-D2704BFDC3B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28" creationId="{4BD97F91-2A9C-4C33-A67F-84E2B1C57F8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29" creationId="{F661A8E7-ABB7-4887-9D53-7C8FD1F608A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30" creationId="{0A625E45-584E-4312-85BC-EBA3AC5C855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31" creationId="{C1E3B0F5-AB42-4167-84EB-350FD84FBC9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33" creationId="{1C76640C-611E-44AA-B3AC-64FF183A0EB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34" creationId="{55D9F2F4-73C7-471C-8E02-96446D3CD9C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35" creationId="{3463FB92-0618-4A61-96FE-2A38D6207D7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36" creationId="{E1B0B588-48E9-452F-A2F2-B6C4B432362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37" creationId="{02B9B19F-A111-4EC9-A824-055340FBAB2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38" creationId="{77641EE9-3FF7-41C3-8A4D-B6953543271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40" creationId="{B5022F80-4173-4084-B240-8E238CDA13A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41" creationId="{A530E7E9-A0DB-47BA-BC58-9EE3368F57A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42" creationId="{8BE6E591-DA59-42FA-A55A-B61C8D545D5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44" creationId="{F576C376-B0B6-4B46-8EF5-476784A11D7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45" creationId="{8D59B72C-029C-428F-AD7B-72EDA779A9D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46" creationId="{9C89AD60-0285-4F51-9CDA-3A7B58EB0C4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47" creationId="{7BD655D5-8B8B-4DEE-8105-A7D27495168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48" creationId="{722CD1AC-C6D0-485E-A00B-7D6E2706B7F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50" creationId="{0236B614-FD4E-43EE-A07F-33A66FBEAA9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51" creationId="{D2557FEF-6EAC-4EDF-8C29-99278F4A659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52" creationId="{1CD7E860-49F2-4132-8D92-9BD5BF210B1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54" creationId="{7248904E-7D58-4191-9D2B-224BEE3E7B2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55" creationId="{208B1AEF-DD9A-4E06-8920-75F837B5CC7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56" creationId="{2197D2A5-9006-4B52-8B0B-E5CE418D4B3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57" creationId="{20F6F6AF-F47F-40EF-8651-359FB8FE766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59" creationId="{FA0B3B9B-C130-46E3-8CF4-65A8D06DFAA5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60" creationId="{181C04BF-4083-458E-B8D4-C0CB70C085D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61" creationId="{8704597E-F790-41C6-94F6-73538DB7153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63" creationId="{8C88650E-E2F5-469D-8D5D-EEE4AC0AF3C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64" creationId="{1B0E7E94-0437-4A45-94EE-581C8D99616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66" creationId="{9A20CEB6-C983-4D86-B0FB-74650CB46E3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67" creationId="{B459287D-9BC1-499D-AFB4-9EE1174E1C1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68" creationId="{6F2E1D29-4259-4C4E-B0D6-32343788C5A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69" creationId="{E56405FE-2DFF-45E8-878B-2C6E82089FD3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71" creationId="{DC1C4A45-5002-450B-8BD7-3D95C3A0141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72" creationId="{2116B39C-8D8C-42FF-996B-B61804D6CEB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73" creationId="{B122D49A-CCD5-471F-8737-46D380A0197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74" creationId="{02078571-56B4-4910-A4B1-8851D90AABB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75" creationId="{E7EAE9C8-5F20-421E-AB78-045A41269C0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76" creationId="{589AC0CB-FBD5-4EF1-BA82-4FC9E0AA416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78" creationId="{601C485D-50BA-40C0-9FED-4C33D9ED0A2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79" creationId="{0CE0B368-862F-41A9-892A-4BE6C38A398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80" creationId="{7F67A02F-BB14-471C-AEE9-29DD5E7BDD3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81" creationId="{A664401C-84FD-4E11-82D3-A33BCE58806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83" creationId="{C30AF00A-79C7-461E-9788-8AF134A616B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84" creationId="{7184593E-F4F9-48D3-8044-FC7D7EB599A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85" creationId="{9D441C50-F6D6-4C41-B54C-C12DE3E8488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86" creationId="{F84B1CA0-9CA2-453B-9147-A1BACCC8F4B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87" creationId="{2AF006B0-1FF1-485A-8F81-FD99E34CD3A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88" creationId="{735121D2-4C9E-44EA-AE06-46A923B6B9C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90" creationId="{FB42CFF1-9867-410D-9861-131EC4FDB85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91" creationId="{AE1A2D18-37AB-4016-85AA-AB47D60EAC0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92" creationId="{51E85691-1776-41D6-BB5F-94C962B3149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94" creationId="{8C76958B-9681-4FF5-BD03-3E21A91ACA1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95" creationId="{4FFB8539-0816-4365-8679-13369C3EBCA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96" creationId="{E2C4D28B-C4B0-4605-A9F4-D883ABAD677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98" creationId="{7616D260-2BA5-49B3-A340-B486410228A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999" creationId="{A98939AF-58DD-4E61-84A8-7B256D2EA3D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00" creationId="{9D93F370-7C3B-40D9-A18A-08DB29EBCCA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01" creationId="{91792926-794D-4BAF-AD03-6616375CF0D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02" creationId="{BC457407-644B-484C-99C1-6D8A2BBDBD9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04" creationId="{5DD98525-4C6F-43AA-8D72-698E2CD157F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05" creationId="{E40331F1-2A18-494B-B10E-9E9076C1E52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06" creationId="{0FA64A7B-69EA-4132-9424-173AAE53EA1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07" creationId="{BF65E314-4D20-4E70-A6F9-825C047ACAA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08" creationId="{123F8341-4F90-441B-9455-D4531A4537F7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09" creationId="{D2898DF4-9E11-4607-BB83-3B03F501323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10" creationId="{72086463-8D19-4FD3-8EC5-5B5AA07FB2E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12" creationId="{02726115-90FB-4B69-9FB1-A04819B14FA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13" creationId="{EE0B9DA6-AED3-43D6-A111-4CFC2783849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14" creationId="{B5299EDA-EB3B-4EB1-8F7F-44793A522B49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15" creationId="{52720444-73D4-4E45-930D-E118C720641B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16" creationId="{64B297F0-BAA7-4F19-AD4E-F61A35A19F5F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18" creationId="{D19A6EEE-0C03-488B-A572-9FF5C3415018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19" creationId="{7BDA4596-DF7B-44E8-BE49-D2F9A7D9011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20" creationId="{39594274-9E8F-4425-92B3-9CC6622A1CDA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22" creationId="{813C20D3-00B4-40EE-BFBA-0025DCE33363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23" creationId="{3325B1F7-41B4-4F37-AD68-11580DF9CA5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24" creationId="{02472EBF-77B7-432F-AF04-912373DB01C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25" creationId="{151CA756-8F20-427C-B3A8-08FB606874D6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27" creationId="{6B81CD93-447C-4810-9B01-C0C427D406A0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28" creationId="{4043AE5A-CC17-4114-9295-97C7E6370F9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29" creationId="{189DC215-6646-4DDD-93B7-C0205400EF33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30" creationId="{92210F6E-5BA9-4382-8AC9-4FD3ACDFDE8E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32" creationId="{E7EA6C4F-38C8-4DFA-9713-658EEA25A681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33" creationId="{447C3231-B672-4CEA-9C76-55AC6FBFD74D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34" creationId="{3DB87218-86FE-41D7-ADDC-F33747FDDAF2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35" creationId="{D91DB4A1-32CA-4BE7-B30C-946C62712554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37" creationId="{73BCB46F-D5F9-4650-A0D7-1B158652E94C}"/>
          </ac:spMkLst>
        </pc:spChg>
        <pc:spChg chg="mod">
          <ac:chgData name="Schulfer, Gretchen" userId="c352446a-8589-4ce1-8481-211528268116" providerId="ADAL" clId="{721808D4-8791-4D6C-B163-D040F9971C9B}" dt="2020-03-23T04:51:38.967" v="677" actId="2711"/>
          <ac:spMkLst>
            <pc:docMk/>
            <pc:sldMk cId="3263624276" sldId="428"/>
            <ac:spMk id="1038" creationId="{BEB18E99-E200-4C2D-8D99-548563E5F8E5}"/>
          </ac:spMkLst>
        </pc:spChg>
      </pc:sldChg>
      <pc:sldChg chg="modSp">
        <pc:chgData name="Schulfer, Gretchen" userId="c352446a-8589-4ce1-8481-211528268116" providerId="ADAL" clId="{721808D4-8791-4D6C-B163-D040F9971C9B}" dt="2020-03-23T04:51:43.623" v="678" actId="2711"/>
        <pc:sldMkLst>
          <pc:docMk/>
          <pc:sldMk cId="1602852859" sldId="429"/>
        </pc:sldMkLst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91" creationId="{62203AE7-F408-4C72-9F53-50807A21E657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92" creationId="{66DF79B5-480A-4472-A893-51B2B7CDF192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93" creationId="{7CA8F4C3-FA44-4C8B-A395-B0AD84CD8F30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94" creationId="{D4D9732D-75EE-4A6F-A76C-B7B2E93888E0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05" creationId="{1BA8B578-0926-4B82-B6CB-C27311889F9E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10" creationId="{6CECBF5C-F2CF-467A-8780-E1F423FF537E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11" creationId="{B5BC4596-5E3A-4C70-9DCB-B976DBE195AB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16" creationId="{A019473E-D96D-4E7D-AF4B-A5BA7F62C326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17" creationId="{38372115-43BF-46BF-85E9-BAD8E978F71A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18" creationId="{35337C0A-9626-4A8C-8F37-D3D6EC6D2A25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19" creationId="{FCC2F9B0-9C1D-4964-B829-66532771D6E8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24" creationId="{06577545-1D48-45E1-974A-0A6E2E575014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28" creationId="{62CC832A-EEB7-4AD4-B649-2149CB84325C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32" creationId="{95CCD99B-0DE8-463F-8393-704362DDABE2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33" creationId="{9FDD5853-C0CA-44EE-99C0-19910CEC89DB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34" creationId="{F966F09D-41FD-4C80-870A-C0820D5367E8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35" creationId="{3D0B724B-18A5-44BE-9EA1-751E1A4B6AD2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39" creationId="{83FC8800-C188-407A-A54C-82FCF50274EF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40" creationId="{23096A40-F864-4CCB-9378-3D6B66E0C5B0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47" creationId="{CDF7FD8F-7837-4DE3-8DE4-DA8A2147CFE4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51" creationId="{D5D9918D-A4BF-4B02-B247-5B52924B582D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52" creationId="{2699C556-628B-48B7-9DC3-0D1F5023A2EE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56" creationId="{76443AFC-36A1-49D6-95DF-14CEAC4EA29F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57" creationId="{B172F688-ABB0-4627-960A-F435CD779D38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58" creationId="{543AD05E-E8FF-410A-AC02-FF96A80F29D2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59" creationId="{7FDE7437-1290-4D84-ABBA-E5BD8C22658C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60" creationId="{A41B7A95-A0EE-4CE1-8718-1067D7BB498E}"/>
          </ac:spMkLst>
        </pc:spChg>
        <pc:spChg chg="mod">
          <ac:chgData name="Schulfer, Gretchen" userId="c352446a-8589-4ce1-8481-211528268116" providerId="ADAL" clId="{721808D4-8791-4D6C-B163-D040F9971C9B}" dt="2020-03-23T04:51:43.623" v="678" actId="2711"/>
          <ac:spMkLst>
            <pc:docMk/>
            <pc:sldMk cId="1602852859" sldId="429"/>
            <ac:spMk id="177" creationId="{481CD64D-AE38-4D0A-B9DF-8FBA35F2AB3A}"/>
          </ac:spMkLst>
        </pc:s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95" creationId="{2757ADD0-9FCD-4357-A974-613D17F9EA9C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98" creationId="{95F666DB-592A-49C5-9EAF-875263C62C93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01" creationId="{A4C67B40-84FD-4B6E-89E1-ED52674BEB22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06" creationId="{A66A3061-D5E1-4C30-83AC-92EDC69F2CE1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12" creationId="{9899D153-3AA6-45E2-8A76-41BC6CC0A6A6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20" creationId="{B79E3C15-AD34-43FB-9B74-C4BCCF47922A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25" creationId="{811F7BB2-787A-4C23-97D8-F4F9FD8D1243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29" creationId="{00008626-947D-4615-930C-631C6D739BAE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36" creationId="{5F1B0728-0297-4E83-BE85-8D65EB2D5766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41" creationId="{6C9DE396-5582-4187-87EB-06BF825F12BB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44" creationId="{F0AD2CC5-425E-4883-B158-AD5AD2305107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48" creationId="{20DF0144-EE37-408B-94DE-A17D1ABBC3E9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53" creationId="{91FAD969-A23D-4DDB-B973-89289EFE8ADF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61" creationId="{25EBA744-407E-4C57-A23D-FB247A59F6B7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64" creationId="{B34AB8B7-1E1D-4F6D-84B1-5084D4A8074C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70" creationId="{7599C349-D2F1-469B-883C-7D28F9059BB5}"/>
          </ac:grpSpMkLst>
        </pc:grpChg>
        <pc:grpChg chg="mod">
          <ac:chgData name="Schulfer, Gretchen" userId="c352446a-8589-4ce1-8481-211528268116" providerId="ADAL" clId="{721808D4-8791-4D6C-B163-D040F9971C9B}" dt="2020-03-23T04:51:43.623" v="678" actId="2711"/>
          <ac:grpSpMkLst>
            <pc:docMk/>
            <pc:sldMk cId="1602852859" sldId="429"/>
            <ac:grpSpMk id="174" creationId="{3D577226-0484-4B18-80FC-9E8A37A43E21}"/>
          </ac:grpSpMkLst>
        </pc:grpChg>
      </pc:sldChg>
      <pc:sldChg chg="modSp">
        <pc:chgData name="Schulfer, Gretchen" userId="c352446a-8589-4ce1-8481-211528268116" providerId="ADAL" clId="{721808D4-8791-4D6C-B163-D040F9971C9B}" dt="2020-03-23T04:51:48.272" v="679" actId="2711"/>
        <pc:sldMkLst>
          <pc:docMk/>
          <pc:sldMk cId="3993878790" sldId="430"/>
        </pc:sldMkLst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02" creationId="{2096FF7D-0D1E-46A6-8382-C5086F9A70D4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03" creationId="{BF164305-315B-453C-AB55-439E740B196D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04" creationId="{CF50EAFC-857E-4F08-AAB6-A542D429E5E4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09" creationId="{A3B8BE50-B161-4BAE-9607-E2AFECFA55AA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10" creationId="{0436C5B1-3946-4B69-B34E-945629F9E551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11" creationId="{F869E082-F058-40ED-8484-F9079F099601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12" creationId="{80D6F5B8-B292-4353-B2D9-D353D8C74522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13" creationId="{FA3EC049-76BC-477D-8197-CD53FD4EAA9F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14" creationId="{4DE0CA4D-6C15-428C-9C4E-8BA71D6DF659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15" creationId="{4EFE9DB6-F25D-4936-986D-DBFDE4AD9863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16" creationId="{C4034054-4FD8-4660-9E1C-157D2D7811FD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17" creationId="{350A38AB-EADB-4534-B5B2-2E326CC8F3B6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18" creationId="{1F3F4990-ADF5-4773-87C7-089A13069642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19" creationId="{0FC201BB-EA53-493F-8698-B22ADA3154D3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20" creationId="{1152A750-62B6-442E-BC07-750C4BD47A1E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21" creationId="{36E55FAD-D713-4628-B7EC-32C2FC1C1CCF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22" creationId="{4B9A5D78-5D7E-4E88-9205-CFA93A69C321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23" creationId="{429508E6-6C94-4281-A093-C85BC7D6640B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24" creationId="{2E336841-0C62-4B06-947D-1E621A29BACE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25" creationId="{FA14B1E7-AB7E-45EB-93FD-4F0A52EC7747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26" creationId="{5CAA41FB-B096-43A0-9018-A7D117265284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27" creationId="{63DA6C53-DBB0-4C1F-BFC8-E9D4B5156F36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28" creationId="{1C6C4363-2997-439C-847E-5357CA31D8B3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29" creationId="{BC2AB579-DE6F-4ACC-91A6-976197810CF7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30" creationId="{F96314B5-97E3-4602-BE00-5FA0CFBAC0C1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31" creationId="{BFF7D9DA-13BC-4FDF-BDC9-BDC386826EA6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32" creationId="{2CA4D882-3C91-4198-A563-A6EFE6566169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33" creationId="{484A2197-1BB5-4D90-B043-13287F85A639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42" creationId="{65866689-D372-45A6-B216-53B20B189C8F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46" creationId="{4F611CCB-42AB-41EE-8BD2-6E03CEF2873E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251" creationId="{674912A6-6A2B-40DA-BC3F-426D733F2849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42" creationId="{D0D54088-EFC4-466B-824E-FCA52A5786EF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47" creationId="{578D39BC-947B-45F6-B893-0BDBCAB4D9A6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51" creationId="{165F3FAE-BEF8-4D18-ADE1-B0050257B475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52" creationId="{E939BDAE-D779-403A-80EE-403343BCC819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60" creationId="{DE2CFA5F-90D4-4F1A-AD1A-F47E96CF9A3F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61" creationId="{982A6EC4-923A-48F7-ABD7-6143A25ADC24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65" creationId="{41B1ACDC-1D36-4DA2-ACB6-57E10E5DA1D0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69" creationId="{8ECB4B23-FCD5-4CDF-B7A9-D8A909BE638A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83" creationId="{F2509E86-A157-4DD4-AF07-DDB06F6EEC18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91" creationId="{DAD6F97C-8994-4DF1-9A5E-6BCC44CA670E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92" creationId="{B554BAF9-C640-41FD-B661-5CD7ABEF3EAE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496" creationId="{6DF816AD-8BB6-440F-95EF-97B47F680D82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01" creationId="{1B3534DF-9F63-4D18-BD0A-FD7A2B71C9C7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05" creationId="{A4C4EF50-BA8C-446C-9506-785A54EF6B97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09" creationId="{997FFFB8-2CF6-40A7-AB00-4B922F3B9769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14" creationId="{312E32AD-7B04-4131-9C0C-B5AB5C89AD8D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18" creationId="{4DABC206-92C0-4DF0-96C6-C390E6CBA349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40" creationId="{7DD9E568-1C67-445B-AA02-526E40E66A6E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41" creationId="{4E04447C-960B-4AB5-8A8F-C1C1DBD32217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48" creationId="{36E6AF44-F029-4C43-BF27-2E8649E99823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49" creationId="{93D90564-5F36-41CD-845A-A7082BFCBE34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53" creationId="{0EA7FB25-B08F-4E6A-ABCB-678697C28ACF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57" creationId="{6F9DD68C-929B-4A64-BAA6-BF49BF7BEA33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58" creationId="{EF29288D-6DB9-4F62-AB75-614A85B2E99F}"/>
          </ac:spMkLst>
        </pc:spChg>
        <pc:spChg chg="mod">
          <ac:chgData name="Schulfer, Gretchen" userId="c352446a-8589-4ce1-8481-211528268116" providerId="ADAL" clId="{721808D4-8791-4D6C-B163-D040F9971C9B}" dt="2020-03-23T04:51:48.272" v="679" actId="2711"/>
          <ac:spMkLst>
            <pc:docMk/>
            <pc:sldMk cId="3993878790" sldId="430"/>
            <ac:spMk id="575" creationId="{296F5235-9A37-4C8E-B8D7-90C7C07D8E43}"/>
          </ac:spMkLst>
        </pc:s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234" creationId="{5A46C082-D089-4499-8106-D9263443D4DF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243" creationId="{2D44CD9F-3D3A-49E1-B3CA-2FF95F730313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247" creationId="{5E3D3FAF-5B0D-48C0-82C6-5651FE901116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252" creationId="{988910E6-B416-479F-A5D5-44E6F7FFA7B6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343" creationId="{7222C48B-B092-4E47-81E3-466E0B8A0CC5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384" creationId="{15DD2D06-7605-413D-9486-6B34C9F12976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21" creationId="{35F074D9-F6B7-4FFC-8B11-7BDC6A1B2E2D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39" creationId="{92C5DF21-B2F4-4DB8-9FA5-CFF42BEB9F27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43" creationId="{5EF0D25C-475D-4104-924C-20970E1C6146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48" creationId="{68CAA3CF-AE60-4ADB-A094-9DAE9F69414E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53" creationId="{9ADEA108-E888-4165-9158-4CB8788C87B6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56" creationId="{A0C6EE2C-28C8-48E3-8FC1-CD6A86BD6FC7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62" creationId="{01D73422-AA31-40B4-9EC4-1FBABBA6C3F7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66" creationId="{2E8067AE-ABE2-46C5-8F17-5D32AD6AA71C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70" creationId="{C0D9EB48-0317-451B-9823-1B66046AFF0F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84" creationId="{703B5666-A539-46E8-8AAA-56B0569ACFCE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87" creationId="{023E69EB-E7C1-406F-8F5A-C1876A490504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93" creationId="{0D344038-7161-4BAA-8A76-91B79199FE8C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497" creationId="{CCE346F5-8285-46E6-92D1-7EDCBF40C9B3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02" creationId="{1A587273-4D9F-4EAA-86C8-7F36B28A016C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06" creationId="{5C1E76EC-DD2C-4D53-88DD-ED32D7BF9EA2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10" creationId="{0C88EC94-8126-430E-ADC6-B48E35C9210C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15" creationId="{B896B881-312F-4F0F-AE5A-60780BC8C46B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19" creationId="{B52D28BB-692D-49BF-BF26-30282DE42D72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24" creationId="{19FBD678-AD0D-4437-93CD-E06281D0ED96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33" creationId="{01432A2C-67AE-499C-A8CA-CB40BFC69D01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36" creationId="{D2A08C0E-B004-450D-95BE-3409C358EF53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42" creationId="{C15ADD77-72F4-4816-87AC-0CC33DD1D2FB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45" creationId="{D1851A07-9E9D-419B-90AD-76E4549C4B9A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50" creationId="{68546781-2FBC-4915-A32D-6427B18E4CF6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54" creationId="{82A93E71-21C6-4C4B-AB3E-7DBA1E995C39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59" creationId="{EBA44968-FD4F-4C0E-AD15-D2277B234BD0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67" creationId="{9FBCD566-6A33-4D7A-8618-B56A5395B524}"/>
          </ac:grpSpMkLst>
        </pc:grpChg>
        <pc:grpChg chg="mod">
          <ac:chgData name="Schulfer, Gretchen" userId="c352446a-8589-4ce1-8481-211528268116" providerId="ADAL" clId="{721808D4-8791-4D6C-B163-D040F9971C9B}" dt="2020-03-23T04:51:48.272" v="679" actId="2711"/>
          <ac:grpSpMkLst>
            <pc:docMk/>
            <pc:sldMk cId="3993878790" sldId="430"/>
            <ac:grpSpMk id="576" creationId="{8FF0858E-4093-4284-859A-8638DDBB1C5B}"/>
          </ac:grpSpMkLst>
        </pc:grpChg>
      </pc:sldChg>
      <pc:sldChg chg="modSp">
        <pc:chgData name="Schulfer, Gretchen" userId="c352446a-8589-4ce1-8481-211528268116" providerId="ADAL" clId="{721808D4-8791-4D6C-B163-D040F9971C9B}" dt="2020-03-23T04:51:54.704" v="680" actId="2711"/>
        <pc:sldMkLst>
          <pc:docMk/>
          <pc:sldMk cId="1325205469" sldId="431"/>
        </pc:sldMkLst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47" creationId="{7C77F43C-8B7E-431C-A512-ED85C8246F2E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48" creationId="{FFC941F8-64A9-49FE-A128-A8E0769467EA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49" creationId="{204D6FE4-B1EA-4E77-8DC7-3369D8DC05E5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50" creationId="{BD05BC42-1DA8-40BD-9BD3-A43DD3599BD6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51" creationId="{1198E844-C565-4F73-8901-CB0B736FABCB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52" creationId="{B09F04C9-FB58-4259-8BA1-3591406991D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53" creationId="{029B55AF-4760-428D-B955-40C387DEBE1C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54" creationId="{1C5EC8AA-82D8-4AE8-9786-A4F89CBF3F16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55" creationId="{BDB660B5-8B77-4C1F-92C1-DC61DE0EE0C4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56" creationId="{4955DA61-E5E9-47AD-A3FB-5454DB0A7D50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57" creationId="{66D688E6-346A-4AF9-A80D-8FC371C99A7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58" creationId="{30659944-3A35-40B6-B876-2B6CDB444DF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59" creationId="{EF4CB6A3-8B85-4B99-90F9-F1D39DBCECDA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60" creationId="{5F571827-0DEB-4463-8E33-595166B91E6E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61" creationId="{2C405C6E-686A-4662-93EF-B04504CF7527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62" creationId="{E0465FF7-7036-44EB-8404-C1F5D943946F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63" creationId="{90F94A93-4ABE-48AD-A308-7412257D0F96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64" creationId="{B0A474F3-ECE0-43C5-83CB-1397F007D8C0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65" creationId="{6681C880-8644-45C8-A102-2E4D0734618A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66" creationId="{00CE7D89-0EA4-4464-A190-86D0072D859B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67" creationId="{A2E3D425-8EDB-4859-8221-C7F850F94F7E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68" creationId="{0F0E3493-9E5C-401C-B4BE-722B87D1616A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69" creationId="{5AD9AF42-83F0-4DDE-A439-B7B0E6F6E5EA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70" creationId="{701771F7-F1B1-42BF-8C18-93C164B4858A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71" creationId="{5218BFE0-1739-43D4-A503-06433558E848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72" creationId="{73B2F499-93F6-49FE-AB8A-6C40FD3225F9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73" creationId="{FDFC5CFA-E8A7-4424-A003-1FD66B71418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75" creationId="{ABDEBD43-8459-458A-A061-049B2D3179A6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76" creationId="{41C92816-C8F0-4C72-9168-1560292F8A5C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77" creationId="{8E9553B5-697B-46EC-A28C-A516139631EF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78" creationId="{275EF0B4-1060-4301-A921-59CD599844C3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79" creationId="{23809D8D-63DE-4454-89B9-0DD2BBB7377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80" creationId="{3F8C9B2F-2A44-4E6D-9F80-5E6397A96A41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81" creationId="{AF5D4B1A-FF31-4F12-A0FB-BD599FD5C837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83" creationId="{171C056C-A2A3-4580-AC0A-9DE36246B0D3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84" creationId="{9EE64BDF-364F-4644-9459-0D6D4C0DEFFE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85" creationId="{7A815CED-525D-4352-BF89-825C4F1A923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86" creationId="{09C2F9E4-0349-43C1-B123-4C25EB89E396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88" creationId="{05033ADD-BC55-4650-AD6F-134F2104951D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89" creationId="{41214892-4412-4701-B41F-1A138EEFD05B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90" creationId="{36449DAC-C501-4B4D-A7D7-762A50D36C07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92" creationId="{AFA17F2A-67DF-4961-9A98-551533A9C1DE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93" creationId="{D28D2792-EC10-4DBF-9DA0-DE187DAF3D37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94" creationId="{E6A73DFE-A5FB-4794-B7A6-1F955CC436BC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95" creationId="{002BEF09-4137-47A7-9DBC-D767ACF417AC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96" creationId="{88D481A4-FCF7-429D-B9DE-5E1A244AA76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97" creationId="{4CE31D68-AB6E-477A-A3F6-3C3E7ACDBB5F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199" creationId="{617ED971-E305-4321-9CF7-C1E2486D090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00" creationId="{BF7E91C6-5F3A-4D0D-92E6-CFA16EFFECC7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01" creationId="{5D75DA1F-708E-44F3-A868-4B030C3D403B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03" creationId="{D0988AF3-5FC1-4477-BA6E-1CB67333E67E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04" creationId="{6D94D9A5-A10A-4A6F-9F2B-C3EC2369E408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05" creationId="{51513D28-EF52-4D58-9B6F-236F9064EB65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07" creationId="{D141EE5E-E435-4A46-A88C-6458D262792A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08" creationId="{6B01C777-9C07-4C26-9B06-C1455320BC9D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09" creationId="{272DFB72-7563-483D-AAB4-3E08521E5121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10" creationId="{8F610A68-60E7-4B1F-B723-5970EB6EA2A0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11" creationId="{E17CCD7C-798A-4610-B887-D47DD4ADD487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13" creationId="{15B6767B-6C0B-4DAE-B856-F5A804C10F49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14" creationId="{42CB1587-9927-455F-AE27-0CB4BEBEC2E5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15" creationId="{C80E7960-E7DF-4F3F-B249-4359B1A84569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17" creationId="{144D68AB-BFD8-4272-B571-807228C15DF9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18" creationId="{DB375BB8-42FB-4983-946E-4F9C58D8596D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19" creationId="{508F2D67-E2AA-4FF3-95E5-0E80B70EF340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21" creationId="{B3A97B3D-38BA-4543-AE1E-9471B082FC9D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22" creationId="{36C221F8-8B01-4AD1-A207-8CCA64149EC1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23" creationId="{A675995A-905E-49CD-A8D5-53D0FD48E405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25" creationId="{CC056B6E-FFCE-4B9D-835D-3C52EE687148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26" creationId="{58B1DFC8-BABE-4F8A-9C95-247F9B7A145D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27" creationId="{1D9EE591-CF1E-4A9E-890C-49E164E77C83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29" creationId="{B4E85949-BCC2-4EC2-81C7-25CC18EA1298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30" creationId="{CB419691-A41F-4F88-88A3-5AD191148C83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31" creationId="{B8BD01D7-5274-42A2-9D65-F1EA7AD8F5E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33" creationId="{56B62139-CE63-455E-B736-D1C594C58841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34" creationId="{B494D7C1-5E3B-453B-982B-0F98A6BA55D7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35" creationId="{0A15341C-557A-4093-84F2-B44A217B2031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37" creationId="{4ED22743-5D59-4244-84D1-5AC2F79A9B7B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38" creationId="{F6A2769D-33B5-4810-B33E-15B8E759A587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46" creationId="{B5AC450B-7D98-4539-B9B6-00A8EE313E2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47" creationId="{83C82FCF-D6AC-471C-8E68-8E86DE6E14A9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48" creationId="{A8737D38-B42D-49C8-912C-F5FBDDD09729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50" creationId="{1AC3DE71-6F5F-4780-94B9-013FAE8ADAB8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51" creationId="{A4B91997-AF9B-4615-BF28-80DDDC2CD9E1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52" creationId="{5DB0E749-7E3B-4DCA-A7B3-C8450E8EBB98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53" creationId="{023FB08A-70C2-49AF-8412-BF4232AC7A6C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255" creationId="{FC1CE8F7-78B5-4955-B09C-DD6FD700085F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60" creationId="{C490F968-F213-4785-8857-11A9984D5023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62" creationId="{A53B5F6A-03D0-4BCA-9518-B68EBB815470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63" creationId="{BB7FE8D6-9196-47C8-8399-2EA307C16D96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64" creationId="{2681A73B-45A5-45AD-AC05-7F20B9CA4C59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65" creationId="{0DAE4FC4-D173-44BA-A09C-24C6F59CA0BE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67" creationId="{36FCC395-8D9E-4C89-8EF2-93CA4EC6DF0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68" creationId="{2E733635-82D2-4DD2-B60E-4529AF60909C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69" creationId="{9F573869-C767-4C35-82FC-AE895940813C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71" creationId="{162FC16E-5BEB-48E5-B386-EE04EED160F3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72" creationId="{C8DFEC15-8C2E-4CDD-AFBB-380702EAB9EC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73" creationId="{4B038405-AF86-4D40-96CC-63116F633D37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75" creationId="{088E5BAD-DB29-4005-AEF9-9C4E3E8B60D6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76" creationId="{6089977E-EA12-4ACF-9E75-1F52C4459FE8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78" creationId="{5F5F774B-747B-49C3-8299-37B65EB2CB2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79" creationId="{4AE9148D-449A-416F-8803-CF32EA94FE78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80" creationId="{E3D681A1-719B-4E3E-BD65-05C1B6D71E00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82" creationId="{78258945-24A2-4CEA-80A2-BDA950607BDE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83" creationId="{CC084CF3-1A1D-4ED8-8D94-1F951EE1EAEE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85" creationId="{6FD95950-A4BA-4418-9F0C-74657B8E4D96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86" creationId="{4E36A764-FA53-4E0A-8067-206444F81C30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87" creationId="{D3DFF5BE-3B14-4745-AFE1-8500F07ECB13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89" creationId="{7A9BA789-1013-47A2-A643-C8BD64985A39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90" creationId="{7B129140-0E9C-45AC-A41A-FBD63DAFDB4A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91" creationId="{8D608330-AE8C-4924-B77F-E0AD879907FF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92" creationId="{A8B38611-9214-48B3-B62D-2EB0625050CA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93" creationId="{59503E84-2EBA-48CE-A926-1854FA37913D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94" creationId="{1A1CCF93-6439-47E5-AC78-C2BF22824159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95" creationId="{F271954A-D30D-41E0-BB4F-1912DC233926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97" creationId="{C39D35C1-9A20-4615-8C94-A1AF5FF8DE02}"/>
          </ac:spMkLst>
        </pc:spChg>
        <pc:spChg chg="mod">
          <ac:chgData name="Schulfer, Gretchen" userId="c352446a-8589-4ce1-8481-211528268116" providerId="ADAL" clId="{721808D4-8791-4D6C-B163-D040F9971C9B}" dt="2020-03-23T04:51:54.704" v="680" actId="2711"/>
          <ac:spMkLst>
            <pc:docMk/>
            <pc:sldMk cId="1325205469" sldId="431"/>
            <ac:spMk id="398" creationId="{F3395A7E-8961-4DA3-9F08-5672D8479554}"/>
          </ac:spMkLst>
        </pc:spChg>
      </pc:sldChg>
      <pc:sldChg chg="modSp">
        <pc:chgData name="Schulfer, Gretchen" userId="c352446a-8589-4ce1-8481-211528268116" providerId="ADAL" clId="{721808D4-8791-4D6C-B163-D040F9971C9B}" dt="2020-03-23T04:51:58.973" v="681" actId="2711"/>
        <pc:sldMkLst>
          <pc:docMk/>
          <pc:sldMk cId="3196427001" sldId="432"/>
        </pc:sldMkLst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69" creationId="{38182BB8-A67A-420C-A71A-D24E1D18BBE7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70" creationId="{F9D3A39E-63AC-4967-8ADB-1D1C77687C59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71" creationId="{BE3227E9-0D3B-447F-98E7-D37F069B3062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72" creationId="{F530CB37-95BF-4B2F-8C8B-DEDABD5FEC5B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73" creationId="{7DB804FB-ECD5-42E9-B2F4-D1AFD3772D63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74" creationId="{02ABEBC1-7AA0-489D-8440-8976BF2EE5C5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75" creationId="{14C1F1ED-0724-4AA7-A40B-FA030BF6D27C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76" creationId="{C3B00B2C-72FE-4317-9F97-139AAA26CA67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77" creationId="{DC2AB08F-317D-4A17-B1B7-63C1A36C8B3E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78" creationId="{5C4382E5-46FF-4BC2-878D-97961EDE2F02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79" creationId="{7F436757-5FB4-4A4A-8A0B-744C4B701847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80" creationId="{C82F5C7E-BBB0-45AE-A837-0E46BC35F56B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81" creationId="{1378E319-B723-4A80-B703-09A2545E9E81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83" creationId="{1FF143BD-3BF3-4EA0-9697-112120166333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84" creationId="{4C132D0E-A5B8-4B49-93B0-C9C01A3F103D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85" creationId="{F49C62B0-D2DB-4323-BF78-BE03A7BBDF36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86" creationId="{BC125B09-A791-466F-9D32-FDEF609D44F2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88" creationId="{668181B3-DB30-4A1C-9306-0D7A186104AD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89" creationId="{29061287-79E3-4C1F-BC41-1B8A79E985A3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90" creationId="{9E7338DE-E275-4BD2-8F1C-1B9E7BA6100F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92" creationId="{19FF3E60-28A2-4AD8-8654-0F74DF2246AC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93" creationId="{1D61C59D-9F28-4C8E-A84C-0E075843A584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95" creationId="{38037376-1B89-4F17-BC52-479E090A574F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96" creationId="{AA445FC6-45D6-47AA-895E-F3521E0D67FD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97" creationId="{6C0B6DA1-A65E-4C4D-A337-F089D464F919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98" creationId="{68C67D2A-0A9C-4685-9C07-5BB395797B42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99" creationId="{40401215-AFA9-44A3-A71A-5173F27AF6FB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00" creationId="{F92735D5-9E0D-418B-A85B-F5EB1AD6B8B5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02" creationId="{9E3EAF38-E48B-4C7F-8E4C-67D1B8A8688A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03" creationId="{29E9B975-9C67-48C2-902E-55EFB7843C1B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04" creationId="{717D862D-9770-49D1-8EE1-F5E264653303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06" creationId="{3E9104ED-5A0B-473F-90AA-022DFB65465F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07" creationId="{53D6CCB7-81FD-4A0B-AEFD-659D627A18A8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08" creationId="{6703750B-D1B7-4A5E-BC92-AF2B09020E68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10" creationId="{46923139-A36B-40D1-97E6-C3F6F4570E37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11" creationId="{4623C441-21EC-463F-89FA-9769A1E78FAB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13" creationId="{2A49ACC4-4010-449D-BC4B-E78095F035A4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14" creationId="{79402736-3386-40FB-BDEA-15168E6B9AB4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15" creationId="{61DD5AC7-2AD9-40D6-AF60-F71A97E1E769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16" creationId="{66B923ED-7F60-4740-8109-1BB7D3B0A85C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18" creationId="{D064764A-857A-4111-92FA-3AB4EC6D8231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19" creationId="{28CFA808-5523-4423-9415-39EE47E66298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20" creationId="{4F2F7675-1F80-4A78-8F4F-035B043DFEF9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21" creationId="{55AE787A-DF6F-4052-BE8A-DC7BC90E7D77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22" creationId="{D87BB4E9-4B8B-4DD7-97C5-BB8C99BD4C55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24" creationId="{3C9BA193-9CAE-4436-BB0B-C706E838DAE2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25" creationId="{864A181D-C8D3-4E56-871F-A63EF2D15DDB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26" creationId="{4A094DCD-FFE2-4B63-93B6-4FF3304D22E6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28" creationId="{7AE61835-95D3-4375-B703-360B234D729C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29" creationId="{269CD8DD-6ED2-454F-85B5-031B689BBF9C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31" creationId="{8F809B0D-6343-410B-939C-3DEAC9CB6FA9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32" creationId="{EBC6A479-0D54-4B40-9CE1-35688414D4C3}"/>
          </ac:spMkLst>
        </pc:spChg>
        <pc:spChg chg="mod">
          <ac:chgData name="Schulfer, Gretchen" userId="c352446a-8589-4ce1-8481-211528268116" providerId="ADAL" clId="{721808D4-8791-4D6C-B163-D040F9971C9B}" dt="2020-03-23T04:51:58.973" v="681" actId="2711"/>
          <ac:spMkLst>
            <pc:docMk/>
            <pc:sldMk cId="3196427001" sldId="432"/>
            <ac:spMk id="133" creationId="{A1D264F2-B78B-4E24-94C7-6B653F95B5D0}"/>
          </ac:spMkLst>
        </pc:spChg>
      </pc:sldChg>
      <pc:sldChg chg="modSp">
        <pc:chgData name="Schulfer, Gretchen" userId="c352446a-8589-4ce1-8481-211528268116" providerId="ADAL" clId="{721808D4-8791-4D6C-B163-D040F9971C9B}" dt="2020-03-23T04:52:03.192" v="682" actId="2711"/>
        <pc:sldMkLst>
          <pc:docMk/>
          <pc:sldMk cId="1325519060" sldId="433"/>
        </pc:sldMkLst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08" creationId="{3FC12649-ED6A-46E0-824C-237484BE55F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13" creationId="{4112B14A-7EF4-4298-B65E-679901755683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14" creationId="{889F2332-4DD4-47C0-A01A-9024DB6B396A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15" creationId="{8E0F7494-6C36-4320-96E4-C345C0BE1254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16" creationId="{78452D6D-448B-434B-BB0D-CD1EFC8D0853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17" creationId="{718A2E84-E87C-47A0-9EBB-E176D56FFC8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18" creationId="{94481B49-67D2-47DB-B376-978A0FEBB83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19" creationId="{300D70E3-A647-4978-BA3F-A653D0BBE49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20" creationId="{586F4BFF-7B61-49BD-8D48-CFF8DE7BBA9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21" creationId="{67F81D05-6844-435E-B3A5-AF6204D71861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22" creationId="{502B6B58-8409-4562-BF6B-0E2C0C8AD209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23" creationId="{36994E3D-D7D0-4AEE-8D8A-598EC53D9A6F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24" creationId="{51349BE5-8B4B-48F3-9646-A1FBF8121411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25" creationId="{F05F709B-C367-43CB-A314-EC789F8D7971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26" creationId="{B8025F79-C4D2-49B6-B37F-126619FA64A4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27" creationId="{7E842170-9CAC-4EF9-A798-C909DAC9109D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28" creationId="{FDB43B60-E19C-4D3D-BBB6-EA0F7A1CE783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29" creationId="{D35F932B-71A7-4158-9174-EDE377AAE8FD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30" creationId="{795D3180-00BF-4021-9D21-89C0F0A6DAA9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31" creationId="{4C5F1E48-6DF7-4499-93D1-00AD7FCAC1EA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32" creationId="{5F9602D8-F955-48B5-8F13-EFCBD6C8E6A5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33" creationId="{72E590FF-E5C7-482D-9DBE-DAAF1EEE193F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34" creationId="{CA8C9A6A-B6B8-4454-B406-C534BF32459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35" creationId="{13FF14F5-8F2B-4EB7-8C35-A681CA875B73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36" creationId="{788F2E1A-DA9E-4B92-BA66-BB6BF638E9A1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37" creationId="{7D088F65-F346-41C0-AA71-88FF00EBAD9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38" creationId="{8C3093BE-B4F3-4898-A4D1-54D7A2841629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39" creationId="{208CECCB-0E52-4353-B401-0DD6C7357D51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40" creationId="{06210321-C95C-4DE5-8FA3-1644D5025205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41" creationId="{A03E30A1-2137-488D-B43B-7BF61B19FDAF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42" creationId="{1A5F5E4A-AADF-4A46-9433-C982E1033C9F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44" creationId="{A4819408-FD13-4F22-AD48-791C84C361C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45" creationId="{6F4DEFF9-8ED5-4BA2-930B-746CBB3C8C6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46" creationId="{F6A9E9A6-990E-4144-9581-E9C346A73DAD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48" creationId="{EC7C5AB4-6654-4303-9148-53B4246A4CFF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49" creationId="{478B6CA9-47E2-48DE-8237-36A22AE8012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50" creationId="{932C4228-09A4-4FF7-BD39-149E739CEC39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52" creationId="{24964F55-6C8F-4730-BBAD-172C738A3C4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53" creationId="{70417288-4EDC-4740-95F4-8EF3DFC38B45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254" creationId="{1F4CF9DB-9AE5-4363-91B8-A4D6A7D796E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62" creationId="{5F0BBC05-FCAF-4633-A6BC-FF3D223F6E2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63" creationId="{0B14A80C-4EA5-4190-9230-529A7F0F74B6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64" creationId="{3091B5F9-2910-44FC-98EB-8B24199F30A2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66" creationId="{CB355EC0-31D1-4D6D-BEC2-543EAD1445B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67" creationId="{A2C38507-94FE-4CDA-8E3C-9D667E001F93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68" creationId="{4243CBD7-1E65-4477-8878-C85DB1864C9D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69" creationId="{34A881C6-C51A-4469-B701-6258D491FCD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71" creationId="{6F86F5CA-CF4A-4CBA-91D2-88FBCC4A0D6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72" creationId="{B74FF17D-4405-4C7C-A486-FB24E73258E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73" creationId="{3F50B381-2598-4EE0-BA3C-DACAEF7C2985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74" creationId="{32994291-B6C2-4B4F-8607-3C5C431F3C8D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76" creationId="{755FD66F-9031-4710-A6AB-B8E16A4773FD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77" creationId="{863E1D1B-12EC-4A94-B1EF-B8D32B95F53D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78" creationId="{D7831DC2-837C-4592-AFFD-9037BFCBBDEF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80" creationId="{0F4F5F95-F3A3-4B72-85AC-D37E99A8AD46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81" creationId="{EB8164F2-9A56-411B-A620-C2FF9CA6C62F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82" creationId="{B0E93BD1-957A-4999-99A4-6C9E03E8AD74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83" creationId="{C318061A-615A-48CE-864F-65DF83944A61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85" creationId="{64E32993-9FF2-4944-BB12-FA9E29F907E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86" creationId="{6F880884-135E-4C63-BA2E-768EC9140CF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88" creationId="{D76B40AB-637F-461F-9009-BB81253B070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89" creationId="{09428A8F-922F-4428-9BC0-B92DEE2C1D19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90" creationId="{35C01FBB-0E54-4A68-93FA-91CE7AC4C3F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91" creationId="{7CC5786E-015C-41F7-9686-3E33F6816F9D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93" creationId="{665C8E99-CEC7-4844-8883-EF5FABDF738E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94" creationId="{3B21A596-8233-467E-9909-5A85FCACD46A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95" creationId="{8A23FAF4-CC25-45A5-AB87-E4296CB038D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96" creationId="{A4AFD422-74DD-4E4C-8033-FAD718B1517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97" creationId="{8D54E7A3-FB33-46A2-A7D6-A3CFA77FBC59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399" creationId="{3CC505B9-61FB-4C31-B93F-82F74D6276C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00" creationId="{ABF0AB2C-253B-41D4-A9D5-C54E4BC2780D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01" creationId="{D4B9EDC5-B7F4-4103-B16F-06105279BF8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02" creationId="{885939A6-1329-4357-8F29-A9EBFDF9A6E2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03" creationId="{2B973C3B-D10F-44EB-A1F6-DB3C8A10816F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04" creationId="{79A62E7F-0119-4339-9EBB-E1C703661BB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05" creationId="{C9EA6BDC-427E-451C-AA0D-3258C692940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06" creationId="{0BA9BF1D-9A54-452B-95FE-08977B68613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07" creationId="{6B435EC9-8367-4717-949D-0EE7E5FA42B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08" creationId="{A66871EC-E586-4EFE-B55C-98711BAE153E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09" creationId="{D90DF9F1-2A20-444C-9926-0DFF52EA5763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11" creationId="{BA74F3DB-C456-47AA-9404-7B23240B836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12" creationId="{A763E016-C6B3-48C2-9C9E-EAE48D059CC5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13" creationId="{9A732338-79F9-4D27-9B17-D8ED735BD9D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14" creationId="{66CC0272-0FB4-4748-A5E7-9F58E7E5E2D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16" creationId="{CFEFFBA4-66F9-4777-A187-74C3A3D4E2DA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17" creationId="{AADA3482-732D-49C3-AF7D-EBD9F6C1ECED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18" creationId="{507325D8-08A6-4B2C-91CF-B2B0EAF76972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20" creationId="{6CA556AA-65E4-49E4-8678-6BB5C6647DED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21" creationId="{353D9E6A-DF6F-4EDA-A0D5-1BE48DE0360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26" creationId="{AE8B8C71-C90C-4D39-B197-2FFFDC3B5742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31" creationId="{37DA4E92-BF82-4FC1-A1DE-E544A90FC02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32" creationId="{E7070EBF-A07D-4BD8-9CB9-145C1E68DCB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33" creationId="{B803C6CE-9A68-448B-BDCD-CBA9EE1B5092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35" creationId="{EBE81630-F243-405B-84AE-BE8A93D0A634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36" creationId="{C947CC7D-5F78-4781-A469-45D92C06A406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37" creationId="{D1A443FD-346E-428E-92E9-90E0E31E296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39" creationId="{CCC54961-A927-4422-874C-0168F58B2CF5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40" creationId="{025FFE73-F27C-4ED8-B75E-54B56C9A449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41" creationId="{F06151B7-FB52-4EB3-9425-CB5A2916E70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43" creationId="{67FA0779-9CAF-41F9-BCCA-C29217E3780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44" creationId="{7FF0CA82-0F13-49D3-967A-477266627F7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45" creationId="{19FDF216-4C32-4387-976A-3C896FF7E99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47" creationId="{A804E781-F508-4EFC-8A1B-8BFCEDFF31C3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48" creationId="{2303CC11-D028-441B-BECB-17C8C39E9753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49" creationId="{EAA587BB-2419-424C-9E5D-375D6811E2AE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51" creationId="{2DA4ADD2-CB5D-43D1-BF6A-EB67BC6B870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52" creationId="{833BD7FC-667B-430E-B890-99BC1AC53AB5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54" creationId="{3A4E2C53-A46B-417F-9089-E8821C4392DA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55" creationId="{1E6A7EFE-A75D-4CF9-8E70-400A39AAD82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56" creationId="{902A3D21-E0CE-4E0A-AC5A-D463A0063263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58" creationId="{B97FB6F9-F09A-4CFE-9716-818683185A1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59" creationId="{FCE099BE-E176-4020-A5B6-4A0129DC7D54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60" creationId="{1679343F-B274-4FBD-B266-C29571273E4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61" creationId="{79F97331-B356-462E-B5B5-1929C7F6842D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63" creationId="{696C5F7B-1F09-4C6D-8770-F75437C58346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64" creationId="{FDA1B2E4-B01E-4E51-BE9E-16ECF9B4B91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66" creationId="{24E1E502-B738-4275-9376-9D772D421534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67" creationId="{DD3C0968-DE58-448F-B71F-02FA8A4771C4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68" creationId="{1DE9AFE2-88AF-4AFE-BA1E-56F1B7E6C243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70" creationId="{8CB91B78-BC8C-44E3-A665-530152C1EF2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71" creationId="{F3FD6613-6511-415F-8CAB-1B02CD9927CE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82" creationId="{1488E616-9A81-4398-82AD-63D2A4B2CAD1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84" creationId="{9891FD42-2C96-4467-B8A9-7B9C392E2864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85" creationId="{8BEC881A-04BE-4907-993D-23B3AB164F7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86" creationId="{F05A5276-4B39-4800-969A-FC6472828D4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87" creationId="{B6AA28AC-934D-4FAF-BD89-85A24105B8DE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88" creationId="{972531B4-0285-4517-B7F8-F6DB7740C821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89" creationId="{592B9D93-5EE0-45C3-918E-C2A1042C2682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91" creationId="{D941FE40-9FDE-426F-8D8F-7CA917361DB2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92" creationId="{39E53408-C61F-492B-9360-053A0F8C8A2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93" creationId="{555E4B7E-92AA-4EF5-A31D-ECE2DA3795C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95" creationId="{B77A4C45-FF9F-4350-AB72-7DD531914E6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96" creationId="{47DC9B31-9C5C-4AC1-A3B5-DEA4D9EA4916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97" creationId="{7575BE17-3427-433E-8808-2AB02DC71D4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98" creationId="{44B64AC4-E4F7-4230-ADE1-EE9DBF56313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499" creationId="{E43B0719-C8B8-494F-A32C-8DC924A7409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01" creationId="{EE968711-1F93-41C7-8216-E78705AD9783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02" creationId="{51058FC7-E5B3-49C5-8A00-18A797FBA00E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04" creationId="{51079853-6426-4F16-B970-95F8EB45B5B6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05" creationId="{20967DC5-DF88-4E19-8B1E-A4AEE7863074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07" creationId="{A34D83E0-4FF6-49A9-B012-372C216AD338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08" creationId="{5B2A220D-A6DD-4031-86BD-132D86EF94BF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09" creationId="{284DB7A5-987C-4711-B293-E8E4FDE3537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10" creationId="{C003A17E-CAAD-43A2-9148-545CFD9BD0D2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11" creationId="{A0B130A9-DD1D-4918-BEEE-81A28D614E5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13" creationId="{FC88A09C-41C3-4FA8-83F0-C4D5D6B83E6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14" creationId="{9D5B3BA9-86F9-4F62-8A6D-BB2C444B67A2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16" creationId="{849017AD-6036-4742-9C4B-1E9117796B9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17" creationId="{B019E8D8-2E17-4C7F-8D10-C80DB9A8FA71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18" creationId="{ECDADA50-8B51-4872-A676-8A944973870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20" creationId="{CA9B322B-F3D9-4CC6-B77A-F1E8B3080E35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21" creationId="{94B6730C-3261-4CDA-8F03-973ED723252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29" creationId="{02DAED50-D418-41B9-9AA1-00FC8035AE12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32" creationId="{7077901B-A1F2-4C97-BD51-CC3457B8AB7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34" creationId="{D4824C34-B758-402D-9C6D-07F7A9945BBC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35" creationId="{251CB284-0FC0-46B9-BAEB-4799F9CB75B0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36" creationId="{979FEDD6-818D-4101-8043-AB1F97B6C897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38" creationId="{B6F53C9A-7D9B-4273-A26C-7E5501FE7C0A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39" creationId="{38166CAB-9E1B-42D5-9815-B832DD7C59E1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40" creationId="{8F3CA844-B104-4BBD-AF1E-A2FF7AEE6AEB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42" creationId="{99A967EF-C158-4F26-BAC2-D424CE2B9BA1}"/>
          </ac:spMkLst>
        </pc:spChg>
        <pc:spChg chg="mod">
          <ac:chgData name="Schulfer, Gretchen" userId="c352446a-8589-4ce1-8481-211528268116" providerId="ADAL" clId="{721808D4-8791-4D6C-B163-D040F9971C9B}" dt="2020-03-23T04:52:03.192" v="682" actId="2711"/>
          <ac:spMkLst>
            <pc:docMk/>
            <pc:sldMk cId="1325519060" sldId="433"/>
            <ac:spMk id="543" creationId="{BCFD36CF-7375-46DD-86CF-E348AE2C8A71}"/>
          </ac:spMkLst>
        </pc:spChg>
      </pc:sldChg>
      <pc:sldChg chg="modSp">
        <pc:chgData name="Schulfer, Gretchen" userId="c352446a-8589-4ce1-8481-211528268116" providerId="ADAL" clId="{721808D4-8791-4D6C-B163-D040F9971C9B}" dt="2020-03-23T04:52:07.892" v="683" actId="2711"/>
        <pc:sldMkLst>
          <pc:docMk/>
          <pc:sldMk cId="4173776432" sldId="434"/>
        </pc:sldMkLst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59" creationId="{CD140A80-2F31-4566-8B07-34AED52926AD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60" creationId="{0EA2C7EC-F023-4261-9F65-75F8C105CD77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61" creationId="{9A356505-D19A-47B8-A78C-E3ACD5D375A4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62" creationId="{76050F64-3551-4369-9705-D8F5105AA3FC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63" creationId="{D580D323-9F8C-4F92-8E12-14731FD08616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64" creationId="{8CECF96E-254A-4951-B7BA-F60380DFED65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65" creationId="{F600233E-DABC-4F90-A4FC-BBC24EAF5912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66" creationId="{926B1EAE-62E5-4B51-961A-999BFA12FECC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67" creationId="{E1075283-FC8F-43B0-A524-EFE831E0D583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68" creationId="{A21EEB1D-E1B9-4290-9E87-E54C4F3BE3B8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70" creationId="{6951E6F4-05DD-4366-A84F-46985F7D7B6C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71" creationId="{24131F53-BBB3-47D1-B9FF-D9DD696796CE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73" creationId="{6E5A00FE-2023-4A62-B466-8F84C46EDB74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74" creationId="{A8853D77-6314-4136-862A-99F6DD1CDE5E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75" creationId="{8DE1B42D-120B-4D24-9A94-CEA5E15EAB40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76" creationId="{6828C55B-3183-44F6-81E1-E436BB117941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78" creationId="{A80CCC64-7D67-49CD-8643-39015E963A9C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79" creationId="{28158E8A-F778-47EF-BE43-228F3C2032D0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80" creationId="{E0B57180-DE0A-4EB9-A9D0-9C5D89EA316C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82" creationId="{A6D0AD49-4C49-4860-B348-9D033336888C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83" creationId="{BA9EF8A4-3418-4281-B99B-8EF4FE3F7A1C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84" creationId="{BC6EBB19-C467-4126-8972-737DF6A78143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85" creationId="{780877E1-0A8D-4520-9830-60BA002D55D4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86" creationId="{7E3BA19C-91B1-46C1-BA00-F09AD5DE8EDF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88" creationId="{D9286096-FC29-4B79-BEB0-A80163355DF9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89" creationId="{870B3A35-50F2-4B63-82F4-2D716EC62368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90" creationId="{0EDDD502-B2AF-486E-A763-C3FAC452ABC0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92" creationId="{80B07752-E9D4-4D89-98AD-FFAD7B02A626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93" creationId="{120ABDAF-3BAD-4C98-868A-6627B1DC7DEF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94" creationId="{11F70E9A-F410-4DE8-B40E-E0E770779261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96" creationId="{491A855A-AA5D-4A5F-BC43-63CA90234BFA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97" creationId="{9319CF8B-D9E9-49F4-8E29-F7F13A25DEB2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98" creationId="{72E097B8-B28E-41B5-9342-D62B6B6723B3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00" creationId="{D10D2450-4DF4-4223-B297-DAF30599F117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01" creationId="{8DDCB788-BDF3-4720-BAE5-28C2A170CEBF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02" creationId="{F408A3B9-CC1C-4D24-808F-F0E5AA87AD5D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04" creationId="{8543069E-180F-489E-8644-3F0E5CA63A74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05" creationId="{CCD2F75B-FBC0-491B-B729-DC3035B94A20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06" creationId="{EC72EEF8-F010-42FF-9875-164CA6779CA1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08" creationId="{E45D357E-26FE-40F0-91A0-6290EF1A8E4A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09" creationId="{B3207EA9-580D-4EE7-80E6-A6C163F7802D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10" creationId="{BFB78965-E0BE-4BAB-92F7-C2BCFB6DFB4D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12" creationId="{0F3346E7-873E-4390-975D-BB37346940E0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13" creationId="{99F853DD-3F6D-4B64-B117-9E72C32D8519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14" creationId="{D288A06F-3DB5-4EAF-824D-CC49A4CF39EA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16" creationId="{14AEE0B0-5F4D-409F-BDFA-D5D3F9E6DFF2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17" creationId="{6C321F6A-3200-4167-B386-357E855E9707}"/>
          </ac:spMkLst>
        </pc:spChg>
        <pc:spChg chg="mod">
          <ac:chgData name="Schulfer, Gretchen" userId="c352446a-8589-4ce1-8481-211528268116" providerId="ADAL" clId="{721808D4-8791-4D6C-B163-D040F9971C9B}" dt="2020-03-23T04:52:07.892" v="683" actId="2711"/>
          <ac:spMkLst>
            <pc:docMk/>
            <pc:sldMk cId="4173776432" sldId="434"/>
            <ac:spMk id="118" creationId="{7FB3F955-2A71-43BF-912A-2905CCA9BAC9}"/>
          </ac:spMkLst>
        </pc:spChg>
      </pc:sldChg>
      <pc:sldChg chg="modSp">
        <pc:chgData name="Schulfer, Gretchen" userId="c352446a-8589-4ce1-8481-211528268116" providerId="ADAL" clId="{721808D4-8791-4D6C-B163-D040F9971C9B}" dt="2020-03-23T04:52:12.317" v="684" actId="2711"/>
        <pc:sldMkLst>
          <pc:docMk/>
          <pc:sldMk cId="399103714" sldId="435"/>
        </pc:sldMkLst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3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4" creationId="{00000000-0000-0000-0000-000000000000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24" creationId="{950C5283-4DD9-44DD-B5DC-8069FCF4B9E4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25" creationId="{8DD71915-52B0-479F-99BD-7E83D7F79376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26" creationId="{76EC0246-2B2A-40C5-A46E-8AD0D7A917AC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28" creationId="{1B0739F7-68EE-4DF2-9749-CEFD7CBD9967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29" creationId="{164EBFB7-F300-4363-8E8B-776F5795C975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31" creationId="{3A6BC2A9-3ABD-4F7E-8D01-D572B3698D52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32" creationId="{FD553CAD-6037-4904-8E18-3727A016868B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33" creationId="{7F03E89D-E42E-4AF1-8AC8-E0138A7E9312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34" creationId="{A2B15825-7B97-4054-B21D-4FB63FFC9B32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36" creationId="{F0D58283-0F3E-4192-B62C-36B203996383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37" creationId="{B92E0AEF-4BD6-442D-950D-11CAF8B8E39E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38" creationId="{747A9400-F7A0-407E-B497-4AC500AD0083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39" creationId="{737FAB43-45E8-4C22-BFBF-C3E8D945593B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41" creationId="{4B5C1C1A-DA13-453C-B1ED-287988BCD61E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42" creationId="{A40077A8-9E29-41EA-8743-3C925A4C51C9}"/>
          </ac:spMkLst>
        </pc:spChg>
        <pc:spChg chg="mod">
          <ac:chgData name="Schulfer, Gretchen" userId="c352446a-8589-4ce1-8481-211528268116" providerId="ADAL" clId="{721808D4-8791-4D6C-B163-D040F9971C9B}" dt="2020-03-23T04:52:12.317" v="684" actId="2711"/>
          <ac:spMkLst>
            <pc:docMk/>
            <pc:sldMk cId="399103714" sldId="435"/>
            <ac:spMk id="43" creationId="{82458938-5FDB-4613-9781-E6EDFED2194A}"/>
          </ac:spMkLst>
        </pc:spChg>
      </pc:sldChg>
      <pc:sldChg chg="modSp">
        <pc:chgData name="Schulfer, Gretchen" userId="c352446a-8589-4ce1-8481-211528268116" providerId="ADAL" clId="{721808D4-8791-4D6C-B163-D040F9971C9B}" dt="2020-03-23T04:30:23.266" v="144" actId="20577"/>
        <pc:sldMkLst>
          <pc:docMk/>
          <pc:sldMk cId="1485223179" sldId="436"/>
        </pc:sldMkLst>
        <pc:spChg chg="mod">
          <ac:chgData name="Schulfer, Gretchen" userId="c352446a-8589-4ce1-8481-211528268116" providerId="ADAL" clId="{721808D4-8791-4D6C-B163-D040F9971C9B}" dt="2020-03-23T04:30:23.266" v="144" actId="20577"/>
          <ac:spMkLst>
            <pc:docMk/>
            <pc:sldMk cId="1485223179" sldId="436"/>
            <ac:spMk id="2" creationId="{1A53A8AD-38C0-4854-81B3-9B99B4E007ED}"/>
          </ac:spMkLst>
        </pc:spChg>
        <pc:picChg chg="mod">
          <ac:chgData name="Schulfer, Gretchen" userId="c352446a-8589-4ce1-8481-211528268116" providerId="ADAL" clId="{721808D4-8791-4D6C-B163-D040F9971C9B}" dt="2020-03-23T04:26:40.576" v="12" actId="14100"/>
          <ac:picMkLst>
            <pc:docMk/>
            <pc:sldMk cId="1485223179" sldId="436"/>
            <ac:picMk id="6" creationId="{76C09E8A-0AD2-4CD8-B467-84AE02FBE73E}"/>
          </ac:picMkLst>
        </pc:picChg>
      </pc:sldChg>
      <pc:sldChg chg="addSp delSp modSp">
        <pc:chgData name="Schulfer, Gretchen" userId="c352446a-8589-4ce1-8481-211528268116" providerId="ADAL" clId="{721808D4-8791-4D6C-B163-D040F9971C9B}" dt="2020-03-23T21:01:53.707" v="1241" actId="732"/>
        <pc:sldMkLst>
          <pc:docMk/>
          <pc:sldMk cId="1103638315" sldId="437"/>
        </pc:sldMkLst>
        <pc:spChg chg="mod">
          <ac:chgData name="Schulfer, Gretchen" userId="c352446a-8589-4ce1-8481-211528268116" providerId="ADAL" clId="{721808D4-8791-4D6C-B163-D040F9971C9B}" dt="2020-03-23T04:27:16.780" v="27" actId="20577"/>
          <ac:spMkLst>
            <pc:docMk/>
            <pc:sldMk cId="1103638315" sldId="437"/>
            <ac:spMk id="2" creationId="{1A53A8AD-38C0-4854-81B3-9B99B4E007ED}"/>
          </ac:spMkLst>
        </pc:spChg>
        <pc:spChg chg="mod">
          <ac:chgData name="Schulfer, Gretchen" userId="c352446a-8589-4ce1-8481-211528268116" providerId="ADAL" clId="{721808D4-8791-4D6C-B163-D040F9971C9B}" dt="2020-03-23T04:29:03.762" v="40" actId="947"/>
          <ac:spMkLst>
            <pc:docMk/>
            <pc:sldMk cId="1103638315" sldId="437"/>
            <ac:spMk id="5" creationId="{00000000-0000-0000-0000-000000000000}"/>
          </ac:spMkLst>
        </pc:spChg>
        <pc:spChg chg="add mod">
          <ac:chgData name="Schulfer, Gretchen" userId="c352446a-8589-4ce1-8481-211528268116" providerId="ADAL" clId="{721808D4-8791-4D6C-B163-D040F9971C9B}" dt="2020-03-23T04:29:48.124" v="126" actId="1076"/>
          <ac:spMkLst>
            <pc:docMk/>
            <pc:sldMk cId="1103638315" sldId="437"/>
            <ac:spMk id="7" creationId="{1336ED80-7835-486E-A156-2948DB2B09E7}"/>
          </ac:spMkLst>
        </pc:spChg>
        <pc:spChg chg="add del mod">
          <ac:chgData name="Schulfer, Gretchen" userId="c352446a-8589-4ce1-8481-211528268116" providerId="ADAL" clId="{721808D4-8791-4D6C-B163-D040F9971C9B}" dt="2020-03-23T04:29:16.105" v="45" actId="478"/>
          <ac:spMkLst>
            <pc:docMk/>
            <pc:sldMk cId="1103638315" sldId="437"/>
            <ac:spMk id="11" creationId="{51EDC533-FAC3-4A6D-BE4E-E59A983425C4}"/>
          </ac:spMkLst>
        </pc:spChg>
        <pc:picChg chg="mod">
          <ac:chgData name="Schulfer, Gretchen" userId="c352446a-8589-4ce1-8481-211528268116" providerId="ADAL" clId="{721808D4-8791-4D6C-B163-D040F9971C9B}" dt="2020-03-23T04:52:32.346" v="685" actId="14100"/>
          <ac:picMkLst>
            <pc:docMk/>
            <pc:sldMk cId="1103638315" sldId="437"/>
            <ac:picMk id="6" creationId="{004333C5-64F2-4EE3-9CDF-3B998AB760E7}"/>
          </ac:picMkLst>
        </pc:picChg>
        <pc:picChg chg="mod modCrop">
          <ac:chgData name="Schulfer, Gretchen" userId="c352446a-8589-4ce1-8481-211528268116" providerId="ADAL" clId="{721808D4-8791-4D6C-B163-D040F9971C9B}" dt="2020-03-23T21:01:53.707" v="1241" actId="732"/>
          <ac:picMkLst>
            <pc:docMk/>
            <pc:sldMk cId="1103638315" sldId="437"/>
            <ac:picMk id="10" creationId="{9D5C5EF4-9CCA-4665-825B-F674776CB05F}"/>
          </ac:picMkLst>
        </pc:picChg>
      </pc:sldChg>
      <pc:sldChg chg="modSp">
        <pc:chgData name="Schulfer, Gretchen" userId="c352446a-8589-4ce1-8481-211528268116" providerId="ADAL" clId="{721808D4-8791-4D6C-B163-D040F9971C9B}" dt="2020-03-23T04:30:11.583" v="136" actId="20577"/>
        <pc:sldMkLst>
          <pc:docMk/>
          <pc:sldMk cId="1287521536" sldId="439"/>
        </pc:sldMkLst>
        <pc:spChg chg="mod">
          <ac:chgData name="Schulfer, Gretchen" userId="c352446a-8589-4ce1-8481-211528268116" providerId="ADAL" clId="{721808D4-8791-4D6C-B163-D040F9971C9B}" dt="2020-03-23T04:30:11.583" v="136" actId="20577"/>
          <ac:spMkLst>
            <pc:docMk/>
            <pc:sldMk cId="1287521536" sldId="439"/>
            <ac:spMk id="2" creationId="{1A53A8AD-38C0-4854-81B3-9B99B4E007ED}"/>
          </ac:spMkLst>
        </pc:spChg>
        <pc:picChg chg="mod">
          <ac:chgData name="Schulfer, Gretchen" userId="c352446a-8589-4ce1-8481-211528268116" providerId="ADAL" clId="{721808D4-8791-4D6C-B163-D040F9971C9B}" dt="2020-03-23T04:28:00.668" v="38" actId="14100"/>
          <ac:picMkLst>
            <pc:docMk/>
            <pc:sldMk cId="1287521536" sldId="439"/>
            <ac:picMk id="6" creationId="{D9CCB7DC-954E-4E04-AC86-EE529BB574D0}"/>
          </ac:picMkLst>
        </pc:picChg>
      </pc:sldChg>
      <pc:sldChg chg="modSp">
        <pc:chgData name="Schulfer, Gretchen" userId="c352446a-8589-4ce1-8481-211528268116" providerId="ADAL" clId="{721808D4-8791-4D6C-B163-D040F9971C9B}" dt="2020-03-23T09:56:21.434" v="1240" actId="20577"/>
        <pc:sldMkLst>
          <pc:docMk/>
          <pc:sldMk cId="3653565097" sldId="443"/>
        </pc:sldMkLst>
        <pc:spChg chg="mod">
          <ac:chgData name="Schulfer, Gretchen" userId="c352446a-8589-4ce1-8481-211528268116" providerId="ADAL" clId="{721808D4-8791-4D6C-B163-D040F9971C9B}" dt="2020-03-23T04:47:41.222" v="618" actId="20577"/>
          <ac:spMkLst>
            <pc:docMk/>
            <pc:sldMk cId="3653565097" sldId="443"/>
            <ac:spMk id="6" creationId="{BDD77172-723A-429E-93F7-DEA353692C8D}"/>
          </ac:spMkLst>
        </pc:spChg>
        <pc:spChg chg="mod">
          <ac:chgData name="Schulfer, Gretchen" userId="c352446a-8589-4ce1-8481-211528268116" providerId="ADAL" clId="{721808D4-8791-4D6C-B163-D040F9971C9B}" dt="2020-03-23T09:52:18.782" v="1232" actId="20577"/>
          <ac:spMkLst>
            <pc:docMk/>
            <pc:sldMk cId="3653565097" sldId="443"/>
            <ac:spMk id="8" creationId="{9ED47B58-DBC4-4AB7-8685-F972C3CE3564}"/>
          </ac:spMkLst>
        </pc:spChg>
        <pc:spChg chg="mod">
          <ac:chgData name="Schulfer, Gretchen" userId="c352446a-8589-4ce1-8481-211528268116" providerId="ADAL" clId="{721808D4-8791-4D6C-B163-D040F9971C9B}" dt="2020-03-23T09:56:21.434" v="1240" actId="20577"/>
          <ac:spMkLst>
            <pc:docMk/>
            <pc:sldMk cId="3653565097" sldId="443"/>
            <ac:spMk id="9" creationId="{64F30165-CCE5-431D-B8A2-7122FAA36E9F}"/>
          </ac:spMkLst>
        </pc:spChg>
      </pc:sldChg>
      <pc:sldChg chg="modSp">
        <pc:chgData name="Schulfer, Gretchen" userId="c352446a-8589-4ce1-8481-211528268116" providerId="ADAL" clId="{721808D4-8791-4D6C-B163-D040F9971C9B}" dt="2020-03-23T04:28:45.919" v="39" actId="20577"/>
        <pc:sldMkLst>
          <pc:docMk/>
          <pc:sldMk cId="3293253968" sldId="445"/>
        </pc:sldMkLst>
        <pc:spChg chg="mod">
          <ac:chgData name="Schulfer, Gretchen" userId="c352446a-8589-4ce1-8481-211528268116" providerId="ADAL" clId="{721808D4-8791-4D6C-B163-D040F9971C9B}" dt="2020-03-23T04:27:29.895" v="34" actId="20577"/>
          <ac:spMkLst>
            <pc:docMk/>
            <pc:sldMk cId="3293253968" sldId="445"/>
            <ac:spMk id="3" creationId="{EAF8D057-484E-4004-9E07-EA016E78EB94}"/>
          </ac:spMkLst>
        </pc:spChg>
        <pc:spChg chg="mod">
          <ac:chgData name="Schulfer, Gretchen" userId="c352446a-8589-4ce1-8481-211528268116" providerId="ADAL" clId="{721808D4-8791-4D6C-B163-D040F9971C9B}" dt="2020-03-23T04:28:45.919" v="39" actId="20577"/>
          <ac:spMkLst>
            <pc:docMk/>
            <pc:sldMk cId="3293253968" sldId="445"/>
            <ac:spMk id="4" creationId="{7E1E6C1B-603B-40D5-A5D8-E350DF007065}"/>
          </ac:spMkLst>
        </pc:spChg>
        <pc:picChg chg="mod">
          <ac:chgData name="Schulfer, Gretchen" userId="c352446a-8589-4ce1-8481-211528268116" providerId="ADAL" clId="{721808D4-8791-4D6C-B163-D040F9971C9B}" dt="2020-03-23T04:27:39.368" v="35" actId="14100"/>
          <ac:picMkLst>
            <pc:docMk/>
            <pc:sldMk cId="3293253968" sldId="445"/>
            <ac:picMk id="8" creationId="{CB777755-B534-44AC-A1E8-B0E95B41A981}"/>
          </ac:picMkLst>
        </pc:picChg>
      </pc:sldChg>
      <pc:sldMasterChg chg="delSldLayout modSldLayout">
        <pc:chgData name="Schulfer, Gretchen" userId="c352446a-8589-4ce1-8481-211528268116" providerId="ADAL" clId="{721808D4-8791-4D6C-B163-D040F9971C9B}" dt="2020-03-23T07:29:40.165" v="1083" actId="1076"/>
        <pc:sldMasterMkLst>
          <pc:docMk/>
          <pc:sldMasterMk cId="3607824101" sldId="2147483851"/>
        </pc:sldMasterMkLst>
        <pc:sldLayoutChg chg="addSp delSp modSp">
          <pc:chgData name="Schulfer, Gretchen" userId="c352446a-8589-4ce1-8481-211528268116" providerId="ADAL" clId="{721808D4-8791-4D6C-B163-D040F9971C9B}" dt="2020-03-23T07:28:45.052" v="1073" actId="1076"/>
          <pc:sldLayoutMkLst>
            <pc:docMk/>
            <pc:sldMasterMk cId="3607824101" sldId="2147483851"/>
            <pc:sldLayoutMk cId="2198278118" sldId="2147483829"/>
          </pc:sldLayoutMkLst>
          <pc:spChg chg="del mod">
            <ac:chgData name="Schulfer, Gretchen" userId="c352446a-8589-4ce1-8481-211528268116" providerId="ADAL" clId="{721808D4-8791-4D6C-B163-D040F9971C9B}" dt="2020-03-23T07:28:34.363" v="1069" actId="478"/>
            <ac:spMkLst>
              <pc:docMk/>
              <pc:sldMasterMk cId="3607824101" sldId="2147483851"/>
              <pc:sldLayoutMk cId="2198278118" sldId="2147483829"/>
              <ac:spMk id="8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7:28:34.363" v="1069" actId="478"/>
            <ac:spMkLst>
              <pc:docMk/>
              <pc:sldMasterMk cId="3607824101" sldId="2147483851"/>
              <pc:sldLayoutMk cId="2198278118" sldId="2147483829"/>
              <ac:spMk id="9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7:28:39.350" v="1071" actId="478"/>
            <ac:spMkLst>
              <pc:docMk/>
              <pc:sldMasterMk cId="3607824101" sldId="2147483851"/>
              <pc:sldLayoutMk cId="2198278118" sldId="2147483829"/>
              <ac:spMk id="10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7:28:39.350" v="1071" actId="478"/>
            <ac:spMkLst>
              <pc:docMk/>
              <pc:sldMasterMk cId="3607824101" sldId="2147483851"/>
              <pc:sldLayoutMk cId="2198278118" sldId="2147483829"/>
              <ac:spMk id="11" creationId="{00000000-0000-0000-0000-000000000000}"/>
            </ac:spMkLst>
          </pc:spChg>
          <pc:spChg chg="add">
            <ac:chgData name="Schulfer, Gretchen" userId="c352446a-8589-4ce1-8481-211528268116" providerId="ADAL" clId="{721808D4-8791-4D6C-B163-D040F9971C9B}" dt="2020-03-23T07:28:35.271" v="1070"/>
            <ac:spMkLst>
              <pc:docMk/>
              <pc:sldMasterMk cId="3607824101" sldId="2147483851"/>
              <pc:sldLayoutMk cId="2198278118" sldId="2147483829"/>
              <ac:spMk id="24" creationId="{C0C507E7-B81B-4C48-A5AA-EB2302302973}"/>
            </ac:spMkLst>
          </pc:spChg>
          <pc:spChg chg="add">
            <ac:chgData name="Schulfer, Gretchen" userId="c352446a-8589-4ce1-8481-211528268116" providerId="ADAL" clId="{721808D4-8791-4D6C-B163-D040F9971C9B}" dt="2020-03-23T07:28:35.271" v="1070"/>
            <ac:spMkLst>
              <pc:docMk/>
              <pc:sldMasterMk cId="3607824101" sldId="2147483851"/>
              <pc:sldLayoutMk cId="2198278118" sldId="2147483829"/>
              <ac:spMk id="25" creationId="{A4B9D944-7F4E-42D4-8A84-43402BC40F0D}"/>
            </ac:spMkLst>
          </pc:spChg>
          <pc:spChg chg="add mod">
            <ac:chgData name="Schulfer, Gretchen" userId="c352446a-8589-4ce1-8481-211528268116" providerId="ADAL" clId="{721808D4-8791-4D6C-B163-D040F9971C9B}" dt="2020-03-23T07:28:45.052" v="1073" actId="1076"/>
            <ac:spMkLst>
              <pc:docMk/>
              <pc:sldMasterMk cId="3607824101" sldId="2147483851"/>
              <pc:sldLayoutMk cId="2198278118" sldId="2147483829"/>
              <ac:spMk id="26" creationId="{D3B7D15E-E3BF-4AE0-B657-86BF4076BE3E}"/>
            </ac:spMkLst>
          </pc:spChg>
          <pc:spChg chg="add mod">
            <ac:chgData name="Schulfer, Gretchen" userId="c352446a-8589-4ce1-8481-211528268116" providerId="ADAL" clId="{721808D4-8791-4D6C-B163-D040F9971C9B}" dt="2020-03-23T07:28:45.052" v="1073" actId="1076"/>
            <ac:spMkLst>
              <pc:docMk/>
              <pc:sldMasterMk cId="3607824101" sldId="2147483851"/>
              <pc:sldLayoutMk cId="2198278118" sldId="2147483829"/>
              <ac:spMk id="27" creationId="{960D4485-EAA8-48B3-931F-31B5CEB3E678}"/>
            </ac:spMkLst>
          </pc:spChg>
        </pc:sldLayoutChg>
        <pc:sldLayoutChg chg="addSp delSp modSp">
          <pc:chgData name="Schulfer, Gretchen" userId="c352446a-8589-4ce1-8481-211528268116" providerId="ADAL" clId="{721808D4-8791-4D6C-B163-D040F9971C9B}" dt="2020-03-23T07:29:40.165" v="1083" actId="1076"/>
          <pc:sldLayoutMkLst>
            <pc:docMk/>
            <pc:sldMasterMk cId="3607824101" sldId="2147483851"/>
            <pc:sldLayoutMk cId="2804612228" sldId="2147483830"/>
          </pc:sldLayoutMkLst>
          <pc:spChg chg="del">
            <ac:chgData name="Schulfer, Gretchen" userId="c352446a-8589-4ce1-8481-211528268116" providerId="ADAL" clId="{721808D4-8791-4D6C-B163-D040F9971C9B}" dt="2020-03-23T07:29:05.244" v="1074" actId="478"/>
            <ac:spMkLst>
              <pc:docMk/>
              <pc:sldMasterMk cId="3607824101" sldId="2147483851"/>
              <pc:sldLayoutMk cId="2804612228" sldId="2147483830"/>
              <ac:spMk id="7" creationId="{00000000-0000-0000-0000-000000000000}"/>
            </ac:spMkLst>
          </pc:spChg>
          <pc:spChg chg="del mod">
            <ac:chgData name="Schulfer, Gretchen" userId="c352446a-8589-4ce1-8481-211528268116" providerId="ADAL" clId="{721808D4-8791-4D6C-B163-D040F9971C9B}" dt="2020-03-23T07:29:05.244" v="1074" actId="478"/>
            <ac:spMkLst>
              <pc:docMk/>
              <pc:sldMasterMk cId="3607824101" sldId="2147483851"/>
              <pc:sldLayoutMk cId="2804612228" sldId="2147483830"/>
              <ac:spMk id="8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7:29:05.244" v="1074" actId="478"/>
            <ac:spMkLst>
              <pc:docMk/>
              <pc:sldMasterMk cId="3607824101" sldId="2147483851"/>
              <pc:sldLayoutMk cId="2804612228" sldId="2147483830"/>
              <ac:spMk id="9" creationId="{00000000-0000-0000-0000-000000000000}"/>
            </ac:spMkLst>
          </pc:spChg>
          <pc:spChg chg="add mod">
            <ac:chgData name="Schulfer, Gretchen" userId="c352446a-8589-4ce1-8481-211528268116" providerId="ADAL" clId="{721808D4-8791-4D6C-B163-D040F9971C9B}" dt="2020-03-23T07:29:15.658" v="1077" actId="14100"/>
            <ac:spMkLst>
              <pc:docMk/>
              <pc:sldMasterMk cId="3607824101" sldId="2147483851"/>
              <pc:sldLayoutMk cId="2804612228" sldId="2147483830"/>
              <ac:spMk id="14" creationId="{68D44A10-A1BE-4B60-89A4-889D08B8B34B}"/>
            </ac:spMkLst>
          </pc:spChg>
          <pc:spChg chg="add mod">
            <ac:chgData name="Schulfer, Gretchen" userId="c352446a-8589-4ce1-8481-211528268116" providerId="ADAL" clId="{721808D4-8791-4D6C-B163-D040F9971C9B}" dt="2020-03-23T07:29:35.631" v="1081" actId="14100"/>
            <ac:spMkLst>
              <pc:docMk/>
              <pc:sldMasterMk cId="3607824101" sldId="2147483851"/>
              <pc:sldLayoutMk cId="2804612228" sldId="2147483830"/>
              <ac:spMk id="15" creationId="{9F52FC78-7A4E-4367-9DA3-28A234B39DF1}"/>
            </ac:spMkLst>
          </pc:spChg>
          <pc:spChg chg="add mod">
            <ac:chgData name="Schulfer, Gretchen" userId="c352446a-8589-4ce1-8481-211528268116" providerId="ADAL" clId="{721808D4-8791-4D6C-B163-D040F9971C9B}" dt="2020-03-23T07:29:40.165" v="1083" actId="1076"/>
            <ac:spMkLst>
              <pc:docMk/>
              <pc:sldMasterMk cId="3607824101" sldId="2147483851"/>
              <pc:sldLayoutMk cId="2804612228" sldId="2147483830"/>
              <ac:spMk id="18" creationId="{2D6B6D6E-986C-4D4B-8630-4EBB5F79C2AC}"/>
            </ac:spMkLst>
          </pc:spChg>
        </pc:sldLayoutChg>
        <pc:sldLayoutChg chg="del">
          <pc:chgData name="Schulfer, Gretchen" userId="c352446a-8589-4ce1-8481-211528268116" providerId="ADAL" clId="{721808D4-8791-4D6C-B163-D040F9971C9B}" dt="2020-03-23T06:14:35.133" v="733" actId="2696"/>
          <pc:sldLayoutMkLst>
            <pc:docMk/>
            <pc:sldMasterMk cId="3607824101" sldId="2147483851"/>
            <pc:sldLayoutMk cId="4266769147" sldId="2147483837"/>
          </pc:sldLayoutMkLst>
        </pc:sldLayoutChg>
        <pc:sldLayoutChg chg="del">
          <pc:chgData name="Schulfer, Gretchen" userId="c352446a-8589-4ce1-8481-211528268116" providerId="ADAL" clId="{721808D4-8791-4D6C-B163-D040F9971C9B}" dt="2020-03-23T06:14:38.631" v="734" actId="2696"/>
          <pc:sldLayoutMkLst>
            <pc:docMk/>
            <pc:sldMasterMk cId="3607824101" sldId="2147483851"/>
            <pc:sldLayoutMk cId="1362869473" sldId="2147483838"/>
          </pc:sldLayoutMkLst>
        </pc:sldLayoutChg>
        <pc:sldLayoutChg chg="del">
          <pc:chgData name="Schulfer, Gretchen" userId="c352446a-8589-4ce1-8481-211528268116" providerId="ADAL" clId="{721808D4-8791-4D6C-B163-D040F9971C9B}" dt="2020-03-23T06:14:46.303" v="735" actId="2696"/>
          <pc:sldLayoutMkLst>
            <pc:docMk/>
            <pc:sldMasterMk cId="3607824101" sldId="2147483851"/>
            <pc:sldLayoutMk cId="16398880" sldId="2147483850"/>
          </pc:sldLayoutMkLst>
        </pc:sldLayoutChg>
        <pc:sldLayoutChg chg="addSp">
          <pc:chgData name="Schulfer, Gretchen" userId="c352446a-8589-4ce1-8481-211528268116" providerId="ADAL" clId="{721808D4-8791-4D6C-B163-D040F9971C9B}" dt="2020-03-23T04:23:47.377" v="0"/>
          <pc:sldLayoutMkLst>
            <pc:docMk/>
            <pc:sldMasterMk cId="3607824101" sldId="2147483851"/>
            <pc:sldLayoutMk cId="684275181" sldId="2147483852"/>
          </pc:sldLayoutMkLst>
          <pc:grpChg chg="add">
            <ac:chgData name="Schulfer, Gretchen" userId="c352446a-8589-4ce1-8481-211528268116" providerId="ADAL" clId="{721808D4-8791-4D6C-B163-D040F9971C9B}" dt="2020-03-23T04:23:47.377" v="0"/>
            <ac:grpSpMkLst>
              <pc:docMk/>
              <pc:sldMasterMk cId="3607824101" sldId="2147483851"/>
              <pc:sldLayoutMk cId="684275181" sldId="2147483852"/>
              <ac:grpSpMk id="16" creationId="{873A6F7C-FF4A-4F6E-A9EB-10E977F23DD2}"/>
            </ac:grpSpMkLst>
          </pc:grpChg>
        </pc:sldLayoutChg>
        <pc:sldLayoutChg chg="addSp">
          <pc:chgData name="Schulfer, Gretchen" userId="c352446a-8589-4ce1-8481-211528268116" providerId="ADAL" clId="{721808D4-8791-4D6C-B163-D040F9971C9B}" dt="2020-03-23T04:23:47.377" v="0"/>
          <pc:sldLayoutMkLst>
            <pc:docMk/>
            <pc:sldMasterMk cId="3607824101" sldId="2147483851"/>
            <pc:sldLayoutMk cId="104979781" sldId="2147483853"/>
          </pc:sldLayoutMkLst>
          <pc:grpChg chg="add">
            <ac:chgData name="Schulfer, Gretchen" userId="c352446a-8589-4ce1-8481-211528268116" providerId="ADAL" clId="{721808D4-8791-4D6C-B163-D040F9971C9B}" dt="2020-03-23T04:23:47.377" v="0"/>
            <ac:grpSpMkLst>
              <pc:docMk/>
              <pc:sldMasterMk cId="3607824101" sldId="2147483851"/>
              <pc:sldLayoutMk cId="104979781" sldId="2147483853"/>
              <ac:grpSpMk id="16" creationId="{5289AFF3-456F-40DC-BA97-A64EA44FBE45}"/>
            </ac:grpSpMkLst>
          </pc:grpChg>
        </pc:sldLayoutChg>
        <pc:sldLayoutChg chg="modSp">
          <pc:chgData name="Schulfer, Gretchen" userId="c352446a-8589-4ce1-8481-211528268116" providerId="ADAL" clId="{721808D4-8791-4D6C-B163-D040F9971C9B}" dt="2020-03-23T06:12:46.565" v="732" actId="255"/>
          <pc:sldLayoutMkLst>
            <pc:docMk/>
            <pc:sldMasterMk cId="3607824101" sldId="2147483851"/>
            <pc:sldLayoutMk cId="1748279205" sldId="2147483855"/>
          </pc:sldLayoutMkLst>
          <pc:spChg chg="mod">
            <ac:chgData name="Schulfer, Gretchen" userId="c352446a-8589-4ce1-8481-211528268116" providerId="ADAL" clId="{721808D4-8791-4D6C-B163-D040F9971C9B}" dt="2020-03-23T06:12:46.565" v="732" actId="255"/>
            <ac:spMkLst>
              <pc:docMk/>
              <pc:sldMasterMk cId="3607824101" sldId="2147483851"/>
              <pc:sldLayoutMk cId="1748279205" sldId="2147483855"/>
              <ac:spMk id="4" creationId="{00000000-0000-0000-0000-000000000000}"/>
            </ac:spMkLst>
          </pc:spChg>
        </pc:sldLayoutChg>
        <pc:sldLayoutChg chg="addSp">
          <pc:chgData name="Schulfer, Gretchen" userId="c352446a-8589-4ce1-8481-211528268116" providerId="ADAL" clId="{721808D4-8791-4D6C-B163-D040F9971C9B}" dt="2020-03-23T04:23:47.377" v="0"/>
          <pc:sldLayoutMkLst>
            <pc:docMk/>
            <pc:sldMasterMk cId="3607824101" sldId="2147483851"/>
            <pc:sldLayoutMk cId="1866330033" sldId="2147483857"/>
          </pc:sldLayoutMkLst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1866330033" sldId="2147483857"/>
              <ac:spMk id="10" creationId="{3FC6E4E0-2089-4BB4-BEA4-890C127B18FD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1866330033" sldId="2147483857"/>
              <ac:spMk id="11" creationId="{82FC6B86-5209-4042-B8B4-0CFD5D486389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1866330033" sldId="2147483857"/>
              <ac:spMk id="12" creationId="{65C26B79-E748-4C8B-B483-F908C7395204}"/>
            </ac:spMkLst>
          </pc:spChg>
        </pc:sldLayoutChg>
        <pc:sldLayoutChg chg="addSp">
          <pc:chgData name="Schulfer, Gretchen" userId="c352446a-8589-4ce1-8481-211528268116" providerId="ADAL" clId="{721808D4-8791-4D6C-B163-D040F9971C9B}" dt="2020-03-23T04:23:47.377" v="0"/>
          <pc:sldLayoutMkLst>
            <pc:docMk/>
            <pc:sldMasterMk cId="3607824101" sldId="2147483851"/>
            <pc:sldLayoutMk cId="2331494692" sldId="2147483858"/>
          </pc:sldLayoutMkLst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2331494692" sldId="2147483858"/>
              <ac:spMk id="10" creationId="{0740F21E-CF83-43A5-AB77-CA4E57EE9FAF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2331494692" sldId="2147483858"/>
              <ac:spMk id="11" creationId="{8FC32E33-8190-49F2-86F2-F6EA9665499A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2331494692" sldId="2147483858"/>
              <ac:spMk id="12" creationId="{4891B670-2315-4F22-B86E-1B403F720C8A}"/>
            </ac:spMkLst>
          </pc:spChg>
        </pc:sldLayoutChg>
        <pc:sldLayoutChg chg="modSp">
          <pc:chgData name="Schulfer, Gretchen" userId="c352446a-8589-4ce1-8481-211528268116" providerId="ADAL" clId="{721808D4-8791-4D6C-B163-D040F9971C9B}" dt="2020-03-23T06:18:25.717" v="738"/>
          <pc:sldLayoutMkLst>
            <pc:docMk/>
            <pc:sldMasterMk cId="3607824101" sldId="2147483851"/>
            <pc:sldLayoutMk cId="849571645" sldId="2147483860"/>
          </pc:sldLayoutMkLst>
          <pc:spChg chg="mod">
            <ac:chgData name="Schulfer, Gretchen" userId="c352446a-8589-4ce1-8481-211528268116" providerId="ADAL" clId="{721808D4-8791-4D6C-B163-D040F9971C9B}" dt="2020-03-23T06:18:25.717" v="738"/>
            <ac:spMkLst>
              <pc:docMk/>
              <pc:sldMasterMk cId="3607824101" sldId="2147483851"/>
              <pc:sldLayoutMk cId="849571645" sldId="2147483860"/>
              <ac:spMk id="14" creationId="{00000000-0000-0000-0000-000000000000}"/>
            </ac:spMkLst>
          </pc:spChg>
        </pc:sldLayoutChg>
        <pc:sldLayoutChg chg="modSp">
          <pc:chgData name="Schulfer, Gretchen" userId="c352446a-8589-4ce1-8481-211528268116" providerId="ADAL" clId="{721808D4-8791-4D6C-B163-D040F9971C9B}" dt="2020-03-23T06:18:30.728" v="739"/>
          <pc:sldLayoutMkLst>
            <pc:docMk/>
            <pc:sldMasterMk cId="3607824101" sldId="2147483851"/>
            <pc:sldLayoutMk cId="578378683" sldId="2147483861"/>
          </pc:sldLayoutMkLst>
          <pc:spChg chg="mod">
            <ac:chgData name="Schulfer, Gretchen" userId="c352446a-8589-4ce1-8481-211528268116" providerId="ADAL" clId="{721808D4-8791-4D6C-B163-D040F9971C9B}" dt="2020-03-23T06:18:30.728" v="739"/>
            <ac:spMkLst>
              <pc:docMk/>
              <pc:sldMasterMk cId="3607824101" sldId="2147483851"/>
              <pc:sldLayoutMk cId="578378683" sldId="2147483861"/>
              <ac:spMk id="4" creationId="{00000000-0000-0000-0000-000000000000}"/>
            </ac:spMkLst>
          </pc:spChg>
        </pc:sldLayoutChg>
        <pc:sldLayoutChg chg="addSp modSp">
          <pc:chgData name="Schulfer, Gretchen" userId="c352446a-8589-4ce1-8481-211528268116" providerId="ADAL" clId="{721808D4-8791-4D6C-B163-D040F9971C9B}" dt="2020-03-23T06:18:36.805" v="740"/>
          <pc:sldLayoutMkLst>
            <pc:docMk/>
            <pc:sldMasterMk cId="3607824101" sldId="2147483851"/>
            <pc:sldLayoutMk cId="2795091723" sldId="2147483862"/>
          </pc:sldLayoutMkLst>
          <pc:spChg chg="mod">
            <ac:chgData name="Schulfer, Gretchen" userId="c352446a-8589-4ce1-8481-211528268116" providerId="ADAL" clId="{721808D4-8791-4D6C-B163-D040F9971C9B}" dt="2020-03-23T06:18:36.805" v="740"/>
            <ac:spMkLst>
              <pc:docMk/>
              <pc:sldMasterMk cId="3607824101" sldId="2147483851"/>
              <pc:sldLayoutMk cId="2795091723" sldId="2147483862"/>
              <ac:spMk id="9" creationId="{00000000-0000-0000-0000-000000000000}"/>
            </ac:spMkLst>
          </pc:spChg>
          <pc:grpChg chg="add">
            <ac:chgData name="Schulfer, Gretchen" userId="c352446a-8589-4ce1-8481-211528268116" providerId="ADAL" clId="{721808D4-8791-4D6C-B163-D040F9971C9B}" dt="2020-03-23T04:23:47.377" v="0"/>
            <ac:grpSpMkLst>
              <pc:docMk/>
              <pc:sldMasterMk cId="3607824101" sldId="2147483851"/>
              <pc:sldLayoutMk cId="2795091723" sldId="2147483862"/>
              <ac:grpSpMk id="20" creationId="{86B1242F-E51B-4916-A2F2-451D6ED46ACC}"/>
            </ac:grpSpMkLst>
          </pc:grpChg>
        </pc:sldLayoutChg>
        <pc:sldLayoutChg chg="modSp">
          <pc:chgData name="Schulfer, Gretchen" userId="c352446a-8589-4ce1-8481-211528268116" providerId="ADAL" clId="{721808D4-8791-4D6C-B163-D040F9971C9B}" dt="2020-03-23T06:23:39.862" v="743" actId="15"/>
          <pc:sldLayoutMkLst>
            <pc:docMk/>
            <pc:sldMasterMk cId="3607824101" sldId="2147483851"/>
            <pc:sldLayoutMk cId="2432883703" sldId="2147483863"/>
          </pc:sldLayoutMkLst>
          <pc:spChg chg="mod">
            <ac:chgData name="Schulfer, Gretchen" userId="c352446a-8589-4ce1-8481-211528268116" providerId="ADAL" clId="{721808D4-8791-4D6C-B163-D040F9971C9B}" dt="2020-03-23T06:23:39.862" v="743" actId="15"/>
            <ac:spMkLst>
              <pc:docMk/>
              <pc:sldMasterMk cId="3607824101" sldId="2147483851"/>
              <pc:sldLayoutMk cId="2432883703" sldId="2147483863"/>
              <ac:spMk id="6" creationId="{00000000-0000-0000-0000-000000000000}"/>
            </ac:spMkLst>
          </pc:spChg>
        </pc:sldLayoutChg>
        <pc:sldLayoutChg chg="modSp">
          <pc:chgData name="Schulfer, Gretchen" userId="c352446a-8589-4ce1-8481-211528268116" providerId="ADAL" clId="{721808D4-8791-4D6C-B163-D040F9971C9B}" dt="2020-03-23T06:16:22.348" v="737" actId="255"/>
          <pc:sldLayoutMkLst>
            <pc:docMk/>
            <pc:sldMasterMk cId="3607824101" sldId="2147483851"/>
            <pc:sldLayoutMk cId="1508365516" sldId="2147483865"/>
          </pc:sldLayoutMkLst>
          <pc:spChg chg="mod">
            <ac:chgData name="Schulfer, Gretchen" userId="c352446a-8589-4ce1-8481-211528268116" providerId="ADAL" clId="{721808D4-8791-4D6C-B163-D040F9971C9B}" dt="2020-03-23T06:16:22.348" v="737" actId="255"/>
            <ac:spMkLst>
              <pc:docMk/>
              <pc:sldMasterMk cId="3607824101" sldId="2147483851"/>
              <pc:sldLayoutMk cId="1508365516" sldId="2147483865"/>
              <ac:spMk id="11" creationId="{00000000-0000-0000-0000-000000000000}"/>
            </ac:spMkLst>
          </pc:spChg>
          <pc:spChg chg="mod">
            <ac:chgData name="Schulfer, Gretchen" userId="c352446a-8589-4ce1-8481-211528268116" providerId="ADAL" clId="{721808D4-8791-4D6C-B163-D040F9971C9B}" dt="2020-03-23T06:16:22.348" v="737" actId="255"/>
            <ac:spMkLst>
              <pc:docMk/>
              <pc:sldMasterMk cId="3607824101" sldId="2147483851"/>
              <pc:sldLayoutMk cId="1508365516" sldId="2147483865"/>
              <ac:spMk id="13" creationId="{00000000-0000-0000-0000-000000000000}"/>
            </ac:spMkLst>
          </pc:spChg>
        </pc:sldLayoutChg>
        <pc:sldLayoutChg chg="addSp">
          <pc:chgData name="Schulfer, Gretchen" userId="c352446a-8589-4ce1-8481-211528268116" providerId="ADAL" clId="{721808D4-8791-4D6C-B163-D040F9971C9B}" dt="2020-03-23T04:23:47.377" v="0"/>
          <pc:sldLayoutMkLst>
            <pc:docMk/>
            <pc:sldMasterMk cId="3607824101" sldId="2147483851"/>
            <pc:sldLayoutMk cId="1807024848" sldId="2147483872"/>
          </pc:sldLayoutMkLst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1807024848" sldId="2147483872"/>
              <ac:spMk id="24" creationId="{EC8DCC7A-9856-454F-8770-C99A0BAC9591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1807024848" sldId="2147483872"/>
              <ac:spMk id="25" creationId="{30459407-E480-4E4E-9E13-04E08D5BA9BD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1807024848" sldId="2147483872"/>
              <ac:spMk id="26" creationId="{D60875DE-0945-410B-B028-A335A879F1DB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1807024848" sldId="2147483872"/>
              <ac:spMk id="27" creationId="{E4325708-3009-490F-8822-6D1248CE3DC9}"/>
            </ac:spMkLst>
          </pc:spChg>
        </pc:sldLayoutChg>
        <pc:sldLayoutChg chg="addSp">
          <pc:chgData name="Schulfer, Gretchen" userId="c352446a-8589-4ce1-8481-211528268116" providerId="ADAL" clId="{721808D4-8791-4D6C-B163-D040F9971C9B}" dt="2020-03-23T04:23:47.377" v="0"/>
          <pc:sldLayoutMkLst>
            <pc:docMk/>
            <pc:sldMasterMk cId="3607824101" sldId="2147483851"/>
            <pc:sldLayoutMk cId="1524595434" sldId="2147483873"/>
          </pc:sldLayoutMkLst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1524595434" sldId="2147483873"/>
              <ac:spMk id="14" creationId="{707534D4-AD90-4352-9D6E-18248454D2CA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1524595434" sldId="2147483873"/>
              <ac:spMk id="15" creationId="{DAE0E29A-2F79-47DB-B085-AF5C0B926F40}"/>
            </ac:spMkLst>
          </pc:spChg>
        </pc:sldLayoutChg>
        <pc:sldLayoutChg chg="addSp">
          <pc:chgData name="Schulfer, Gretchen" userId="c352446a-8589-4ce1-8481-211528268116" providerId="ADAL" clId="{721808D4-8791-4D6C-B163-D040F9971C9B}" dt="2020-03-23T04:23:47.377" v="0"/>
          <pc:sldLayoutMkLst>
            <pc:docMk/>
            <pc:sldMasterMk cId="3607824101" sldId="2147483851"/>
            <pc:sldLayoutMk cId="704465319" sldId="2147483874"/>
          </pc:sldLayoutMkLst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704465319" sldId="2147483874"/>
              <ac:spMk id="24" creationId="{E03400EF-52A1-4F49-9A72-7AAA7A3E2109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704465319" sldId="2147483874"/>
              <ac:spMk id="25" creationId="{F07EBD73-619B-4083-AA58-A9B7F851FABB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704465319" sldId="2147483874"/>
              <ac:spMk id="26" creationId="{8936D0BF-951E-4BCD-8E21-2F3F2629B1BE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704465319" sldId="2147483874"/>
              <ac:spMk id="27" creationId="{387004E2-4A82-478A-BFDB-7103ADDD0F56}"/>
            </ac:spMkLst>
          </pc:spChg>
        </pc:sldLayoutChg>
        <pc:sldLayoutChg chg="addSp">
          <pc:chgData name="Schulfer, Gretchen" userId="c352446a-8589-4ce1-8481-211528268116" providerId="ADAL" clId="{721808D4-8791-4D6C-B163-D040F9971C9B}" dt="2020-03-23T04:23:47.377" v="0"/>
          <pc:sldLayoutMkLst>
            <pc:docMk/>
            <pc:sldMasterMk cId="3607824101" sldId="2147483851"/>
            <pc:sldLayoutMk cId="3972530835" sldId="2147483875"/>
          </pc:sldLayoutMkLst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3972530835" sldId="2147483875"/>
              <ac:spMk id="14" creationId="{83CD5844-47E7-4F53-AA86-AC151A6DAE0F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3972530835" sldId="2147483875"/>
              <ac:spMk id="15" creationId="{FFB1E0F0-C8EC-4021-A4CD-FBE449C92EF7}"/>
            </ac:spMkLst>
          </pc:spChg>
          <pc:spChg chg="add">
            <ac:chgData name="Schulfer, Gretchen" userId="c352446a-8589-4ce1-8481-211528268116" providerId="ADAL" clId="{721808D4-8791-4D6C-B163-D040F9971C9B}" dt="2020-03-23T04:23:47.377" v="0"/>
            <ac:spMkLst>
              <pc:docMk/>
              <pc:sldMasterMk cId="3607824101" sldId="2147483851"/>
              <pc:sldLayoutMk cId="3972530835" sldId="2147483875"/>
              <ac:spMk id="18" creationId="{3EBB15F7-AD41-43E6-8AA9-C473BE405C8C}"/>
            </ac:spMkLst>
          </pc:spChg>
        </pc:sldLayoutChg>
        <pc:sldLayoutChg chg="addSp delSp">
          <pc:chgData name="Schulfer, Gretchen" userId="c352446a-8589-4ce1-8481-211528268116" providerId="ADAL" clId="{721808D4-8791-4D6C-B163-D040F9971C9B}" dt="2020-03-23T04:42:17.145" v="514"/>
          <pc:sldLayoutMkLst>
            <pc:docMk/>
            <pc:sldMasterMk cId="3607824101" sldId="2147483851"/>
            <pc:sldLayoutMk cId="2925211192" sldId="2147483877"/>
          </pc:sldLayoutMkLst>
          <pc:spChg chg="add">
            <ac:chgData name="Schulfer, Gretchen" userId="c352446a-8589-4ce1-8481-211528268116" providerId="ADAL" clId="{721808D4-8791-4D6C-B163-D040F9971C9B}" dt="2020-03-23T04:42:17.145" v="514"/>
            <ac:spMkLst>
              <pc:docMk/>
              <pc:sldMasterMk cId="3607824101" sldId="2147483851"/>
              <pc:sldLayoutMk cId="2925211192" sldId="2147483877"/>
              <ac:spMk id="8" creationId="{D0DD3CDC-03F0-45B8-ACB9-856464915565}"/>
            </ac:spMkLst>
          </pc:spChg>
          <pc:spChg chg="del">
            <ac:chgData name="Schulfer, Gretchen" userId="c352446a-8589-4ce1-8481-211528268116" providerId="ADAL" clId="{721808D4-8791-4D6C-B163-D040F9971C9B}" dt="2020-03-23T04:42:11.164" v="513" actId="478"/>
            <ac:spMkLst>
              <pc:docMk/>
              <pc:sldMasterMk cId="3607824101" sldId="2147483851"/>
              <pc:sldLayoutMk cId="2925211192" sldId="2147483877"/>
              <ac:spMk id="9" creationId="{43B6715C-C932-49B3-880D-8C5710C8F99B}"/>
            </ac:spMkLst>
          </pc:spChg>
        </pc:sldLayoutChg>
        <pc:sldLayoutChg chg="del">
          <pc:chgData name="Schulfer, Gretchen" userId="c352446a-8589-4ce1-8481-211528268116" providerId="ADAL" clId="{721808D4-8791-4D6C-B163-D040F9971C9B}" dt="2020-03-23T06:15:20.907" v="736" actId="2696"/>
          <pc:sldLayoutMkLst>
            <pc:docMk/>
            <pc:sldMasterMk cId="3607824101" sldId="2147483851"/>
            <pc:sldLayoutMk cId="3076985360" sldId="2147483882"/>
          </pc:sldLayoutMkLst>
        </pc:sldLayoutChg>
      </pc:sldMasterChg>
      <pc:sldMasterChg chg="modSldLayout">
        <pc:chgData name="Schulfer, Gretchen" userId="c352446a-8589-4ce1-8481-211528268116" providerId="ADAL" clId="{721808D4-8791-4D6C-B163-D040F9971C9B}" dt="2020-03-23T08:55:49.707" v="1196" actId="478"/>
        <pc:sldMasterMkLst>
          <pc:docMk/>
          <pc:sldMasterMk cId="495659210" sldId="2147483896"/>
        </pc:sldMasterMkLst>
        <pc:sldLayoutChg chg="addSp">
          <pc:chgData name="Schulfer, Gretchen" userId="c352446a-8589-4ce1-8481-211528268116" providerId="ADAL" clId="{721808D4-8791-4D6C-B163-D040F9971C9B}" dt="2020-03-23T06:43:11.386" v="744"/>
          <pc:sldLayoutMkLst>
            <pc:docMk/>
            <pc:sldMasterMk cId="495659210" sldId="2147483896"/>
            <pc:sldLayoutMk cId="3239271626" sldId="2147483897"/>
          </pc:sldLayoutMkLst>
          <pc:grpChg chg="add">
            <ac:chgData name="Schulfer, Gretchen" userId="c352446a-8589-4ce1-8481-211528268116" providerId="ADAL" clId="{721808D4-8791-4D6C-B163-D040F9971C9B}" dt="2020-03-23T06:43:11.386" v="744"/>
            <ac:grpSpMkLst>
              <pc:docMk/>
              <pc:sldMasterMk cId="495659210" sldId="2147483896"/>
              <pc:sldLayoutMk cId="3239271626" sldId="2147483897"/>
              <ac:grpSpMk id="16" creationId="{BE53F9A5-D017-41A9-87FD-42B8B6C64282}"/>
            </ac:grpSpMkLst>
          </pc:grpChg>
        </pc:sldLayoutChg>
        <pc:sldLayoutChg chg="addSp">
          <pc:chgData name="Schulfer, Gretchen" userId="c352446a-8589-4ce1-8481-211528268116" providerId="ADAL" clId="{721808D4-8791-4D6C-B163-D040F9971C9B}" dt="2020-03-23T06:43:11.386" v="744"/>
          <pc:sldLayoutMkLst>
            <pc:docMk/>
            <pc:sldMasterMk cId="495659210" sldId="2147483896"/>
            <pc:sldLayoutMk cId="3898970023" sldId="2147483898"/>
          </pc:sldLayoutMkLst>
          <pc:grpChg chg="add">
            <ac:chgData name="Schulfer, Gretchen" userId="c352446a-8589-4ce1-8481-211528268116" providerId="ADAL" clId="{721808D4-8791-4D6C-B163-D040F9971C9B}" dt="2020-03-23T06:43:11.386" v="744"/>
            <ac:grpSpMkLst>
              <pc:docMk/>
              <pc:sldMasterMk cId="495659210" sldId="2147483896"/>
              <pc:sldLayoutMk cId="3898970023" sldId="2147483898"/>
              <ac:grpSpMk id="16" creationId="{BBB00153-52E8-495A-BA32-E581AC7A8A67}"/>
            </ac:grpSpMkLst>
          </pc:grpChg>
        </pc:sldLayoutChg>
        <pc:sldLayoutChg chg="delSp">
          <pc:chgData name="Schulfer, Gretchen" userId="c352446a-8589-4ce1-8481-211528268116" providerId="ADAL" clId="{721808D4-8791-4D6C-B163-D040F9971C9B}" dt="2020-03-23T08:55:49.707" v="1196" actId="478"/>
          <pc:sldLayoutMkLst>
            <pc:docMk/>
            <pc:sldMasterMk cId="495659210" sldId="2147483896"/>
            <pc:sldLayoutMk cId="4205544640" sldId="2147483899"/>
          </pc:sldLayoutMkLst>
          <pc:grpChg chg="del">
            <ac:chgData name="Schulfer, Gretchen" userId="c352446a-8589-4ce1-8481-211528268116" providerId="ADAL" clId="{721808D4-8791-4D6C-B163-D040F9971C9B}" dt="2020-03-23T08:55:49.707" v="1196" actId="478"/>
            <ac:grpSpMkLst>
              <pc:docMk/>
              <pc:sldMasterMk cId="495659210" sldId="2147483896"/>
              <pc:sldLayoutMk cId="4205544640" sldId="2147483899"/>
              <ac:grpSpMk id="30" creationId="{55EEA3F2-C909-4275-956A-5518D341D424}"/>
            </ac:grpSpMkLst>
          </pc:grpChg>
        </pc:sldLayoutChg>
        <pc:sldLayoutChg chg="addSp">
          <pc:chgData name="Schulfer, Gretchen" userId="c352446a-8589-4ce1-8481-211528268116" providerId="ADAL" clId="{721808D4-8791-4D6C-B163-D040F9971C9B}" dt="2020-03-23T06:43:11.386" v="744"/>
          <pc:sldLayoutMkLst>
            <pc:docMk/>
            <pc:sldMasterMk cId="495659210" sldId="2147483896"/>
            <pc:sldLayoutMk cId="3097862711" sldId="2147483901"/>
          </pc:sldLayoutMkLst>
          <pc:spChg chg="add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3097862711" sldId="2147483901"/>
              <ac:spMk id="10" creationId="{BFFD92C3-7ED3-4D3C-8518-BD2C1CF3A89D}"/>
            </ac:spMkLst>
          </pc:spChg>
          <pc:spChg chg="add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3097862711" sldId="2147483901"/>
              <ac:spMk id="11" creationId="{5F2F9D98-8517-4E8E-852B-33B4CF9E4A70}"/>
            </ac:spMkLst>
          </pc:spChg>
          <pc:spChg chg="add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3097862711" sldId="2147483901"/>
              <ac:spMk id="12" creationId="{94F2D29F-D256-48DF-93EB-3649C0F15C84}"/>
            </ac:spMkLst>
          </pc:spChg>
        </pc:sldLayoutChg>
        <pc:sldLayoutChg chg="addSp">
          <pc:chgData name="Schulfer, Gretchen" userId="c352446a-8589-4ce1-8481-211528268116" providerId="ADAL" clId="{721808D4-8791-4D6C-B163-D040F9971C9B}" dt="2020-03-23T06:43:11.386" v="744"/>
          <pc:sldLayoutMkLst>
            <pc:docMk/>
            <pc:sldMasterMk cId="495659210" sldId="2147483896"/>
            <pc:sldLayoutMk cId="408320480" sldId="2147483902"/>
          </pc:sldLayoutMkLst>
          <pc:spChg chg="add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08320480" sldId="2147483902"/>
              <ac:spMk id="10" creationId="{C15CF50B-B21A-4219-A2F3-42CE64720300}"/>
            </ac:spMkLst>
          </pc:spChg>
          <pc:spChg chg="add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08320480" sldId="2147483902"/>
              <ac:spMk id="11" creationId="{72E9039F-1264-4311-9CCE-AA6426B5381E}"/>
            </ac:spMkLst>
          </pc:spChg>
          <pc:spChg chg="add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08320480" sldId="2147483902"/>
              <ac:spMk id="12" creationId="{D56403AF-FAB8-425F-B7B3-1CED91E5B09F}"/>
            </ac:spMkLst>
          </pc:spChg>
        </pc:sldLayoutChg>
        <pc:sldLayoutChg chg="addSp">
          <pc:chgData name="Schulfer, Gretchen" userId="c352446a-8589-4ce1-8481-211528268116" providerId="ADAL" clId="{721808D4-8791-4D6C-B163-D040F9971C9B}" dt="2020-03-23T06:43:11.386" v="744"/>
          <pc:sldLayoutMkLst>
            <pc:docMk/>
            <pc:sldMasterMk cId="495659210" sldId="2147483896"/>
            <pc:sldLayoutMk cId="2279497671" sldId="2147483907"/>
          </pc:sldLayoutMkLst>
          <pc:grpChg chg="add">
            <ac:chgData name="Schulfer, Gretchen" userId="c352446a-8589-4ce1-8481-211528268116" providerId="ADAL" clId="{721808D4-8791-4D6C-B163-D040F9971C9B}" dt="2020-03-23T06:43:11.386" v="744"/>
            <ac:grpSpMkLst>
              <pc:docMk/>
              <pc:sldMasterMk cId="495659210" sldId="2147483896"/>
              <pc:sldLayoutMk cId="2279497671" sldId="2147483907"/>
              <ac:grpSpMk id="20" creationId="{A475D951-68C7-4A6F-ADC6-AB9C10E42F07}"/>
            </ac:grpSpMkLst>
          </pc:grpChg>
        </pc:sldLayoutChg>
        <pc:sldLayoutChg chg="addSp">
          <pc:chgData name="Schulfer, Gretchen" userId="c352446a-8589-4ce1-8481-211528268116" providerId="ADAL" clId="{721808D4-8791-4D6C-B163-D040F9971C9B}" dt="2020-03-23T06:43:11.386" v="744"/>
          <pc:sldLayoutMkLst>
            <pc:docMk/>
            <pc:sldMasterMk cId="495659210" sldId="2147483896"/>
            <pc:sldLayoutMk cId="4031971551" sldId="2147483917"/>
          </pc:sldLayoutMkLst>
          <pc:spChg chg="add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031971551" sldId="2147483917"/>
              <ac:spMk id="24" creationId="{56C776D0-A1AC-41AD-A930-68E62E311F28}"/>
            </ac:spMkLst>
          </pc:spChg>
          <pc:spChg chg="add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031971551" sldId="2147483917"/>
              <ac:spMk id="25" creationId="{8676016B-595B-4B09-8A9C-981F4092254D}"/>
            </ac:spMkLst>
          </pc:spChg>
          <pc:spChg chg="add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031971551" sldId="2147483917"/>
              <ac:spMk id="26" creationId="{E8772A29-A091-45EF-9E05-7D38B8B671A6}"/>
            </ac:spMkLst>
          </pc:spChg>
          <pc:spChg chg="add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031971551" sldId="2147483917"/>
              <ac:spMk id="27" creationId="{331A621E-F4F0-40C4-8952-5BF179427ED7}"/>
            </ac:spMkLst>
          </pc:spChg>
        </pc:sldLayoutChg>
        <pc:sldLayoutChg chg="addSp">
          <pc:chgData name="Schulfer, Gretchen" userId="c352446a-8589-4ce1-8481-211528268116" providerId="ADAL" clId="{721808D4-8791-4D6C-B163-D040F9971C9B}" dt="2020-03-23T06:43:11.386" v="744"/>
          <pc:sldLayoutMkLst>
            <pc:docMk/>
            <pc:sldMasterMk cId="495659210" sldId="2147483896"/>
            <pc:sldLayoutMk cId="1236768039" sldId="2147483918"/>
          </pc:sldLayoutMkLst>
          <pc:spChg chg="add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1236768039" sldId="2147483918"/>
              <ac:spMk id="14" creationId="{D360E003-ECB4-492B-8A94-28433C076FF8}"/>
            </ac:spMkLst>
          </pc:spChg>
          <pc:spChg chg="add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1236768039" sldId="2147483918"/>
              <ac:spMk id="15" creationId="{2D54539A-8172-4D14-BE07-3622A53C73DF}"/>
            </ac:spMkLst>
          </pc:spChg>
        </pc:sldLayoutChg>
        <pc:sldLayoutChg chg="delSp">
          <pc:chgData name="Schulfer, Gretchen" userId="c352446a-8589-4ce1-8481-211528268116" providerId="ADAL" clId="{721808D4-8791-4D6C-B163-D040F9971C9B}" dt="2020-03-23T06:43:11.386" v="744"/>
          <pc:sldLayoutMkLst>
            <pc:docMk/>
            <pc:sldMasterMk cId="495659210" sldId="2147483896"/>
            <pc:sldLayoutMk cId="1964780443" sldId="2147483939"/>
          </pc:sldLayoutMkLst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1964780443" sldId="2147483939"/>
              <ac:spMk id="4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1964780443" sldId="2147483939"/>
              <ac:spMk id="5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1964780443" sldId="2147483939"/>
              <ac:spMk id="6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1964780443" sldId="2147483939"/>
              <ac:spMk id="11" creationId="{BCD5B122-EABE-4ECA-819A-54D0AA2130F9}"/>
            </ac:spMkLst>
          </pc:spChg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1964780443" sldId="2147483939"/>
              <ac:spMk id="12" creationId="{3FF78E2E-2B9E-4E32-8A54-BC55293CD3C9}"/>
            </ac:spMkLst>
          </pc:spChg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1964780443" sldId="2147483939"/>
              <ac:spMk id="13" creationId="{6B0F314D-E019-4AD3-B954-818463FF0B9D}"/>
            </ac:spMkLst>
          </pc:spChg>
        </pc:sldLayoutChg>
        <pc:sldLayoutChg chg="addSp delSp modSp">
          <pc:chgData name="Schulfer, Gretchen" userId="c352446a-8589-4ce1-8481-211528268116" providerId="ADAL" clId="{721808D4-8791-4D6C-B163-D040F9971C9B}" dt="2020-03-23T08:08:45.444" v="1176" actId="1076"/>
          <pc:sldLayoutMkLst>
            <pc:docMk/>
            <pc:sldMasterMk cId="495659210" sldId="2147483896"/>
            <pc:sldLayoutMk cId="4202581419" sldId="2147483942"/>
          </pc:sldLayoutMkLst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202581419" sldId="2147483942"/>
              <ac:spMk id="4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202581419" sldId="2147483942"/>
              <ac:spMk id="5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8:05:11.128" v="1148" actId="478"/>
            <ac:spMkLst>
              <pc:docMk/>
              <pc:sldMasterMk cId="495659210" sldId="2147483896"/>
              <pc:sldLayoutMk cId="4202581419" sldId="2147483942"/>
              <ac:spMk id="8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8:05:29.505" v="1154" actId="478"/>
            <ac:spMkLst>
              <pc:docMk/>
              <pc:sldMasterMk cId="495659210" sldId="2147483896"/>
              <pc:sldLayoutMk cId="4202581419" sldId="2147483942"/>
              <ac:spMk id="9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8:05:43.400" v="1160" actId="478"/>
            <ac:spMkLst>
              <pc:docMk/>
              <pc:sldMasterMk cId="495659210" sldId="2147483896"/>
              <pc:sldLayoutMk cId="4202581419" sldId="2147483942"/>
              <ac:spMk id="10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8:05:45.356" v="1161" actId="478"/>
            <ac:spMkLst>
              <pc:docMk/>
              <pc:sldMasterMk cId="495659210" sldId="2147483896"/>
              <pc:sldLayoutMk cId="4202581419" sldId="2147483942"/>
              <ac:spMk id="11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202581419" sldId="2147483942"/>
              <ac:spMk id="12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202581419" sldId="2147483942"/>
              <ac:spMk id="13" creationId="{00000000-0000-0000-0000-000000000000}"/>
            </ac:spMkLst>
          </pc:spChg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202581419" sldId="2147483942"/>
              <ac:spMk id="18" creationId="{A32462FA-7D20-4E6B-9335-5F0CC56925D0}"/>
            </ac:spMkLst>
          </pc:spChg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202581419" sldId="2147483942"/>
              <ac:spMk id="19" creationId="{E5AF616D-3F67-4FD6-BC16-ABC13A0ACA22}"/>
            </ac:spMkLst>
          </pc:spChg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202581419" sldId="2147483942"/>
              <ac:spMk id="20" creationId="{01986DCA-1B97-4EC9-A852-97E5340E26DC}"/>
            </ac:spMkLst>
          </pc:spChg>
          <pc:spChg chg="del">
            <ac:chgData name="Schulfer, Gretchen" userId="c352446a-8589-4ce1-8481-211528268116" providerId="ADAL" clId="{721808D4-8791-4D6C-B163-D040F9971C9B}" dt="2020-03-23T06:43:11.386" v="744"/>
            <ac:spMkLst>
              <pc:docMk/>
              <pc:sldMasterMk cId="495659210" sldId="2147483896"/>
              <pc:sldLayoutMk cId="4202581419" sldId="2147483942"/>
              <ac:spMk id="21" creationId="{421E9D44-54F1-4CE7-8FDF-78DC08D29E3F}"/>
            </ac:spMkLst>
          </pc:spChg>
          <pc:spChg chg="add mod">
            <ac:chgData name="Schulfer, Gretchen" userId="c352446a-8589-4ce1-8481-211528268116" providerId="ADAL" clId="{721808D4-8791-4D6C-B163-D040F9971C9B}" dt="2020-03-23T08:08:45.444" v="1176" actId="1076"/>
            <ac:spMkLst>
              <pc:docMk/>
              <pc:sldMasterMk cId="495659210" sldId="2147483896"/>
              <pc:sldLayoutMk cId="4202581419" sldId="2147483942"/>
              <ac:spMk id="28" creationId="{0D485CFD-E778-438B-9F95-AA857AF5CACE}"/>
            </ac:spMkLst>
          </pc:spChg>
          <pc:spChg chg="add mod">
            <ac:chgData name="Schulfer, Gretchen" userId="c352446a-8589-4ce1-8481-211528268116" providerId="ADAL" clId="{721808D4-8791-4D6C-B163-D040F9971C9B}" dt="2020-03-23T08:05:35.911" v="1159" actId="1038"/>
            <ac:spMkLst>
              <pc:docMk/>
              <pc:sldMasterMk cId="495659210" sldId="2147483896"/>
              <pc:sldLayoutMk cId="4202581419" sldId="2147483942"/>
              <ac:spMk id="29" creationId="{1995C2BA-4183-48F4-92D9-4620CCDF5C16}"/>
            </ac:spMkLst>
          </pc:spChg>
          <pc:spChg chg="add mod">
            <ac:chgData name="Schulfer, Gretchen" userId="c352446a-8589-4ce1-8481-211528268116" providerId="ADAL" clId="{721808D4-8791-4D6C-B163-D040F9971C9B}" dt="2020-03-23T08:05:59.694" v="1168" actId="1036"/>
            <ac:spMkLst>
              <pc:docMk/>
              <pc:sldMasterMk cId="495659210" sldId="2147483896"/>
              <pc:sldLayoutMk cId="4202581419" sldId="2147483942"/>
              <ac:spMk id="30" creationId="{2DC3B9DA-0A51-491C-923B-09D36118ADA0}"/>
            </ac:spMkLst>
          </pc:spChg>
          <pc:spChg chg="add mod">
            <ac:chgData name="Schulfer, Gretchen" userId="c352446a-8589-4ce1-8481-211528268116" providerId="ADAL" clId="{721808D4-8791-4D6C-B163-D040F9971C9B}" dt="2020-03-23T08:05:59.694" v="1168" actId="1036"/>
            <ac:spMkLst>
              <pc:docMk/>
              <pc:sldMasterMk cId="495659210" sldId="2147483896"/>
              <pc:sldLayoutMk cId="4202581419" sldId="2147483942"/>
              <ac:spMk id="31" creationId="{70BD43BA-DF89-409F-B9BF-2853EC358260}"/>
            </ac:spMkLst>
          </pc:spChg>
        </pc:sldLayoutChg>
        <pc:sldLayoutChg chg="addSp delSp modSp">
          <pc:chgData name="Schulfer, Gretchen" userId="c352446a-8589-4ce1-8481-211528268116" providerId="ADAL" clId="{721808D4-8791-4D6C-B163-D040F9971C9B}" dt="2020-03-23T08:25:06.139" v="1195" actId="20577"/>
          <pc:sldLayoutMkLst>
            <pc:docMk/>
            <pc:sldMasterMk cId="495659210" sldId="2147483896"/>
            <pc:sldLayoutMk cId="2488153871" sldId="2147483944"/>
          </pc:sldLayoutMkLst>
          <pc:spChg chg="add del">
            <ac:chgData name="Schulfer, Gretchen" userId="c352446a-8589-4ce1-8481-211528268116" providerId="ADAL" clId="{721808D4-8791-4D6C-B163-D040F9971C9B}" dt="2020-03-23T08:22:04.808" v="1183"/>
            <ac:spMkLst>
              <pc:docMk/>
              <pc:sldMasterMk cId="495659210" sldId="2147483896"/>
              <pc:sldLayoutMk cId="2488153871" sldId="2147483944"/>
              <ac:spMk id="27" creationId="{26FBFB3A-F3D2-4E8E-A0E2-9314764CB577}"/>
            </ac:spMkLst>
          </pc:spChg>
          <pc:spChg chg="add mod">
            <ac:chgData name="Schulfer, Gretchen" userId="c352446a-8589-4ce1-8481-211528268116" providerId="ADAL" clId="{721808D4-8791-4D6C-B163-D040F9971C9B}" dt="2020-03-23T08:22:22.750" v="1192" actId="1037"/>
            <ac:spMkLst>
              <pc:docMk/>
              <pc:sldMasterMk cId="495659210" sldId="2147483896"/>
              <pc:sldLayoutMk cId="2488153871" sldId="2147483944"/>
              <ac:spMk id="28" creationId="{BF939DF8-C67D-4ED5-9DBC-98F2B43BDAEA}"/>
            </ac:spMkLst>
          </pc:spChg>
          <pc:spChg chg="add del mod">
            <ac:chgData name="Schulfer, Gretchen" userId="c352446a-8589-4ce1-8481-211528268116" providerId="ADAL" clId="{721808D4-8791-4D6C-B163-D040F9971C9B}" dt="2020-03-23T08:22:50.883" v="1193" actId="478"/>
            <ac:spMkLst>
              <pc:docMk/>
              <pc:sldMasterMk cId="495659210" sldId="2147483896"/>
              <pc:sldLayoutMk cId="2488153871" sldId="2147483944"/>
              <ac:spMk id="41" creationId="{AC175F74-77C8-4969-BBF5-920619ED7628}"/>
            </ac:spMkLst>
          </pc:spChg>
          <pc:spChg chg="mod">
            <ac:chgData name="Schulfer, Gretchen" userId="c352446a-8589-4ce1-8481-211528268116" providerId="ADAL" clId="{721808D4-8791-4D6C-B163-D040F9971C9B}" dt="2020-03-23T08:25:06.139" v="1195" actId="20577"/>
            <ac:spMkLst>
              <pc:docMk/>
              <pc:sldMasterMk cId="495659210" sldId="2147483896"/>
              <pc:sldLayoutMk cId="2488153871" sldId="2147483944"/>
              <ac:spMk id="42" creationId="{B345DB50-CB94-4421-9E14-33DABF973475}"/>
            </ac:spMkLst>
          </pc:spChg>
        </pc:sldLayoutChg>
      </pc:sldMasterChg>
    </pc:docChg>
  </pc:docChgLst>
  <pc:docChgLst>
    <pc:chgData name="Schulfer, Gretchen" userId="c352446a-8589-4ce1-8481-211528268116" providerId="ADAL" clId="{001BDF1F-3D34-4933-8CED-FD0497D0088C}"/>
    <pc:docChg chg="custSel modSld">
      <pc:chgData name="Schulfer, Gretchen" userId="c352446a-8589-4ce1-8481-211528268116" providerId="ADAL" clId="{001BDF1F-3D34-4933-8CED-FD0497D0088C}" dt="2020-03-23T01:18:26.163" v="0" actId="478"/>
      <pc:docMkLst>
        <pc:docMk/>
      </pc:docMkLst>
      <pc:sldChg chg="delSp">
        <pc:chgData name="Schulfer, Gretchen" userId="c352446a-8589-4ce1-8481-211528268116" providerId="ADAL" clId="{001BDF1F-3D34-4933-8CED-FD0497D0088C}" dt="2020-03-23T01:18:26.163" v="0" actId="478"/>
        <pc:sldMkLst>
          <pc:docMk/>
          <pc:sldMk cId="861957290" sldId="341"/>
        </pc:sldMkLst>
        <pc:spChg chg="del">
          <ac:chgData name="Schulfer, Gretchen" userId="c352446a-8589-4ce1-8481-211528268116" providerId="ADAL" clId="{001BDF1F-3D34-4933-8CED-FD0497D0088C}" dt="2020-03-23T01:18:26.163" v="0" actId="478"/>
          <ac:spMkLst>
            <pc:docMk/>
            <pc:sldMk cId="861957290" sldId="341"/>
            <ac:spMk id="2" creationId="{2B5A11A4-F908-4948-A0AC-E8816BE249C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22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2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Shape 298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299" name="Shape 299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>
            <a:lvl1pPr defTabSz="914400">
              <a:lnSpc>
                <a:spcPct val="100000"/>
              </a:lnSpc>
              <a:defRPr sz="12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5439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89700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780961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602885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7203733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475D951-68C7-4A6F-ADC6-AB9C10E42F0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0549B55-8335-4CC4-9417-E768B8E137D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0C08EAE3-1065-497F-B8AA-86005E1B7A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966AA8D-FE19-49A0-B249-C78D2E85CC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2289C80D-1FA5-42CC-A523-8259B7FD08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6261A9E2-F698-4343-96EA-AA0015AC51B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1D1108B0-A2B5-43FD-8CC1-CC36168B90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AFA473B9-98DD-4132-83C3-26DCC5D0CC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E1286E94-0A74-4D64-8FE5-E2FC7038DC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DB23453-5417-4773-B5E0-516CE48D96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2DF2930F-8858-4645-96D1-C222466957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949767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810344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6674626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5225F53-1C15-499B-9179-65E3B2184C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4EA394-D3CD-41FC-B7FF-082F08C15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875970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4072947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757468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798406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554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140537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261850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0763750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676016B-595B-4B09-8A9C-981F4092254D}"/>
              </a:ext>
            </a:extLst>
          </p:cNvPr>
          <p:cNvSpPr/>
          <p:nvPr userDrawn="1"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8772A29-A091-45EF-9E05-7D38B8B671A6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31A621E-F4F0-40C4-8952-5BF179427ED7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97155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360E003-ECB4-492B-8A94-28433C076FF8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D54539A-8172-4D14-BE07-3622A53C73DF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76803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838209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512796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3448560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2195293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343211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tx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BF939DF8-C67D-4ED5-9DBC-98F2B43BDA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417931" y="725455"/>
            <a:ext cx="5356735" cy="5356735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vert="horz" lIns="108000" tIns="108000" rIns="108000" bIns="108000" rtlCol="0" anchor="ctr" anchorCtr="0">
            <a:normAutofit/>
          </a:bodyPr>
          <a:lstStyle>
            <a:lvl1pPr algn="ctr" defTabSz="914400" rtl="0" eaLnBrk="1" latinLnBrk="0" hangingPunct="1">
              <a:lnSpc>
                <a:spcPts val="42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81538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4841521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1054434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519788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9084700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7477334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3719246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5225F53-1C15-499B-9179-65E3B2184C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4EA394-D3CD-41FC-B7FF-082F08C15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8837650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7248063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4192825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8765488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10908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3397018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7170507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9157680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 userDrawn="1"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96536943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7026709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0C507E7-B81B-4C48-A5AA-EB23023029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A4B9D944-7F4E-42D4-8A84-43402BC40F0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3B7D15E-E3BF-4AE0-B657-86BF4076BE3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75" y="4251853"/>
            <a:ext cx="5466824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60D4485-EAA8-48B3-931F-31B5CEB3E67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80396" y="4251853"/>
            <a:ext cx="5444156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827811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68D44A10-A1BE-4B60-89A4-889D08B8B3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3584464" cy="4265506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F52FC78-7A4E-4367-9DA3-28A234B39D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20000" y="1897258"/>
            <a:ext cx="3556117" cy="422614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D6B6D6E-986C-4D4B-8630-4EBB5F79C2A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77084" y="1897258"/>
            <a:ext cx="3556117" cy="422614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461222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6311285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266964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4714485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F2D29F-D256-48DF-93EB-3649C0F15C84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8627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1265920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2186815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27645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53365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_Templat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400" y="651600"/>
            <a:ext cx="111963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de-DE" noProof="0" dirty="0"/>
              <a:t>First Name, Name</a:t>
            </a:r>
            <a:br>
              <a:rPr lang="de-DE" noProof="0" dirty="0"/>
            </a:br>
            <a:r>
              <a:rPr lang="de-DE" noProof="0" dirty="0"/>
              <a:t>Project </a:t>
            </a:r>
            <a:r>
              <a:rPr lang="de-DE" noProof="0" dirty="0" err="1"/>
              <a:t>Role</a:t>
            </a:r>
            <a:endParaRPr lang="de-DE" noProof="0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400" y="317500"/>
            <a:ext cx="111963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Bildplatzhalter 3"/>
          <p:cNvSpPr>
            <a:spLocks noGrp="1" noChangeAspect="1"/>
          </p:cNvSpPr>
          <p:nvPr>
            <p:ph type="pic" sz="quarter" idx="14"/>
          </p:nvPr>
        </p:nvSpPr>
        <p:spPr>
          <a:xfrm>
            <a:off x="500400" y="1670400"/>
            <a:ext cx="1260000" cy="1260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7" name="Textplatzhalt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25200" y="3456000"/>
            <a:ext cx="2304000" cy="29268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dirty="0"/>
              <a:t>Business Skills, Technology Skills, Language</a:t>
            </a:r>
            <a:endParaRPr lang="de-DE" noProof="0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348000" y="3456000"/>
            <a:ext cx="2304000" cy="29268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dirty="0" err="1"/>
              <a:t>Industry</a:t>
            </a:r>
            <a:r>
              <a:rPr lang="de-DE" b="0" noProof="0" dirty="0"/>
              <a:t> Experience, </a:t>
            </a:r>
            <a:r>
              <a:rPr lang="de-DE" b="0" noProof="0" dirty="0" err="1"/>
              <a:t>Certificates</a:t>
            </a:r>
            <a:r>
              <a:rPr lang="de-DE" b="0" noProof="0" dirty="0"/>
              <a:t>, Education</a:t>
            </a:r>
            <a:endParaRPr lang="de-DE" noProof="0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1861200" y="1670400"/>
            <a:ext cx="3790800" cy="1260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dirty="0"/>
              <a:t>First-name Name, Level, </a:t>
            </a:r>
            <a:r>
              <a:rPr lang="de-DE" b="0" noProof="0" dirty="0" err="1"/>
              <a:t>Offering</a:t>
            </a:r>
            <a:r>
              <a:rPr lang="de-DE" b="0" noProof="0" dirty="0"/>
              <a:t> Portfolio, Talent Group, Office Location</a:t>
            </a:r>
            <a:endParaRPr lang="de-DE" noProof="0" dirty="0"/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339600" y="1951200"/>
            <a:ext cx="5357100" cy="1098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dirty="0" err="1"/>
              <a:t>Resume</a:t>
            </a:r>
            <a:r>
              <a:rPr lang="de-DE" b="0" noProof="0" dirty="0"/>
              <a:t> </a:t>
            </a:r>
            <a:r>
              <a:rPr lang="de-DE" b="0" noProof="0" dirty="0" err="1"/>
              <a:t>text</a:t>
            </a:r>
            <a:r>
              <a:rPr lang="de-DE" b="0" noProof="0" dirty="0"/>
              <a:t> </a:t>
            </a:r>
            <a:r>
              <a:rPr lang="de-DE" b="0" noProof="0" dirty="0" err="1"/>
              <a:t>runs</a:t>
            </a:r>
            <a:r>
              <a:rPr lang="de-DE" b="0" noProof="0" dirty="0"/>
              <a:t> </a:t>
            </a:r>
            <a:r>
              <a:rPr lang="de-DE" b="0" noProof="0" dirty="0" err="1"/>
              <a:t>here</a:t>
            </a:r>
            <a:r>
              <a:rPr lang="de-DE" b="0" noProof="0" dirty="0"/>
              <a:t> </a:t>
            </a:r>
            <a:r>
              <a:rPr lang="de-DE" b="0" noProof="0" dirty="0" err="1"/>
              <a:t>this</a:t>
            </a:r>
            <a:r>
              <a:rPr lang="de-DE" b="0" noProof="0" dirty="0"/>
              <a:t> </a:t>
            </a:r>
            <a:r>
              <a:rPr lang="de-DE" b="0" noProof="0" dirty="0" err="1"/>
              <a:t>is</a:t>
            </a:r>
            <a:r>
              <a:rPr lang="de-DE" b="0" noProof="0" dirty="0"/>
              <a:t> </a:t>
            </a:r>
            <a:r>
              <a:rPr lang="de-DE" b="0" noProof="0" dirty="0" err="1"/>
              <a:t>dummy</a:t>
            </a:r>
            <a:r>
              <a:rPr lang="de-DE" b="0" noProof="0" dirty="0"/>
              <a:t> </a:t>
            </a:r>
            <a:r>
              <a:rPr lang="de-DE" b="0" noProof="0" dirty="0" err="1"/>
              <a:t>text</a:t>
            </a:r>
            <a:r>
              <a:rPr lang="de-DE" b="0" noProof="0" dirty="0"/>
              <a:t> </a:t>
            </a:r>
            <a:r>
              <a:rPr lang="de-DE" b="0" noProof="0" dirty="0" err="1"/>
              <a:t>it</a:t>
            </a:r>
            <a:r>
              <a:rPr lang="de-DE" b="0" noProof="0" dirty="0"/>
              <a:t> </a:t>
            </a:r>
            <a:r>
              <a:rPr lang="de-DE" b="0" noProof="0" dirty="0" err="1"/>
              <a:t>is</a:t>
            </a:r>
            <a:r>
              <a:rPr lang="de-DE" b="0" noProof="0" dirty="0"/>
              <a:t> not </a:t>
            </a:r>
            <a:r>
              <a:rPr lang="de-DE" b="0" noProof="0" dirty="0" err="1"/>
              <a:t>here</a:t>
            </a:r>
            <a:r>
              <a:rPr lang="de-DE" b="0" noProof="0" dirty="0"/>
              <a:t> </a:t>
            </a:r>
            <a:r>
              <a:rPr lang="de-DE" b="0" noProof="0" dirty="0" err="1"/>
              <a:t>to</a:t>
            </a:r>
            <a:r>
              <a:rPr lang="de-DE" b="0" noProof="0" dirty="0"/>
              <a:t> </a:t>
            </a:r>
            <a:r>
              <a:rPr lang="de-DE" b="0" noProof="0" dirty="0" err="1"/>
              <a:t>be</a:t>
            </a:r>
            <a:r>
              <a:rPr lang="de-DE" b="0" noProof="0" dirty="0"/>
              <a:t> </a:t>
            </a:r>
            <a:r>
              <a:rPr lang="de-DE" b="0" noProof="0" dirty="0" err="1"/>
              <a:t>read</a:t>
            </a:r>
            <a:r>
              <a:rPr lang="de-DE" b="0" noProof="0" dirty="0"/>
              <a:t> </a:t>
            </a:r>
            <a:r>
              <a:rPr lang="de-DE" b="0" noProof="0" dirty="0" err="1"/>
              <a:t>it</a:t>
            </a:r>
            <a:r>
              <a:rPr lang="de-DE" b="0" noProof="0" dirty="0"/>
              <a:t> </a:t>
            </a:r>
            <a:r>
              <a:rPr lang="de-DE" b="0" noProof="0" dirty="0" err="1"/>
              <a:t>is</a:t>
            </a:r>
            <a:r>
              <a:rPr lang="de-DE" b="0" noProof="0" dirty="0"/>
              <a:t> </a:t>
            </a:r>
            <a:r>
              <a:rPr lang="de-DE" b="0" noProof="0" dirty="0" err="1"/>
              <a:t>here</a:t>
            </a:r>
            <a:r>
              <a:rPr lang="de-DE" b="0" noProof="0" dirty="0"/>
              <a:t> </a:t>
            </a:r>
            <a:r>
              <a:rPr lang="de-DE" b="0" noProof="0" dirty="0" err="1"/>
              <a:t>to</a:t>
            </a:r>
            <a:r>
              <a:rPr lang="de-DE" b="0" noProof="0" dirty="0"/>
              <a:t> </a:t>
            </a:r>
            <a:r>
              <a:rPr lang="de-DE" b="0" noProof="0" dirty="0" err="1"/>
              <a:t>show</a:t>
            </a:r>
            <a:r>
              <a:rPr lang="de-DE" b="0" noProof="0" dirty="0"/>
              <a:t> </a:t>
            </a:r>
            <a:r>
              <a:rPr lang="de-DE" b="0" noProof="0" dirty="0" err="1"/>
              <a:t>how</a:t>
            </a:r>
            <a:r>
              <a:rPr lang="de-DE" b="0" noProof="0" dirty="0"/>
              <a:t> </a:t>
            </a:r>
            <a:r>
              <a:rPr lang="de-DE" b="0" noProof="0" dirty="0" err="1"/>
              <a:t>this</a:t>
            </a:r>
            <a:r>
              <a:rPr lang="de-DE" b="0" noProof="0" dirty="0"/>
              <a:t> </a:t>
            </a:r>
            <a:r>
              <a:rPr lang="de-DE" b="0" noProof="0" dirty="0" err="1"/>
              <a:t>document</a:t>
            </a:r>
            <a:r>
              <a:rPr lang="de-DE" b="0" noProof="0" dirty="0"/>
              <a:t> will </a:t>
            </a:r>
            <a:r>
              <a:rPr lang="de-DE" b="0" noProof="0" dirty="0" err="1"/>
              <a:t>look</a:t>
            </a:r>
            <a:r>
              <a:rPr lang="de-DE" b="0" noProof="0" dirty="0"/>
              <a:t> </a:t>
            </a:r>
            <a:r>
              <a:rPr lang="de-DE" b="0" noProof="0" dirty="0" err="1"/>
              <a:t>when</a:t>
            </a:r>
            <a:r>
              <a:rPr lang="de-DE" b="0" noProof="0" dirty="0"/>
              <a:t> </a:t>
            </a:r>
            <a:r>
              <a:rPr lang="de-DE" b="0" noProof="0" dirty="0" err="1"/>
              <a:t>populated</a:t>
            </a:r>
            <a:r>
              <a:rPr lang="de-DE" b="0" noProof="0" dirty="0"/>
              <a:t> </a:t>
            </a:r>
            <a:r>
              <a:rPr lang="de-DE" b="0" noProof="0" dirty="0" err="1"/>
              <a:t>with</a:t>
            </a:r>
            <a:r>
              <a:rPr lang="de-DE" b="0" noProof="0" dirty="0"/>
              <a:t> real </a:t>
            </a:r>
            <a:r>
              <a:rPr lang="de-DE" b="0" noProof="0" dirty="0" err="1"/>
              <a:t>text</a:t>
            </a:r>
            <a:r>
              <a:rPr lang="de-DE" b="0" noProof="0" dirty="0"/>
              <a:t>.</a:t>
            </a:r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159600" y="3456000"/>
            <a:ext cx="5537100" cy="2250000"/>
          </a:xfrm>
        </p:spPr>
        <p:txBody>
          <a:bodyPr>
            <a:noAutofit/>
          </a:bodyPr>
          <a:lstStyle>
            <a:lvl1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dirty="0" err="1"/>
              <a:t>Industry</a:t>
            </a:r>
            <a:r>
              <a:rPr lang="de-DE" b="0" noProof="0" dirty="0"/>
              <a:t>: </a:t>
            </a:r>
            <a:r>
              <a:rPr lang="de-DE" b="0" noProof="0" dirty="0" err="1"/>
              <a:t>Scope</a:t>
            </a:r>
            <a:r>
              <a:rPr lang="de-DE" b="0" noProof="0" dirty="0"/>
              <a:t>: Technology:</a:t>
            </a:r>
          </a:p>
          <a:p>
            <a:pPr lvl="0"/>
            <a:endParaRPr lang="de-DE" b="0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6339600" y="6055200"/>
            <a:ext cx="5357100" cy="324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dirty="0"/>
              <a:t>Client AG, Client Solutions GmbH, Client Ltd.</a:t>
            </a:r>
          </a:p>
          <a:p>
            <a:pPr lvl="0"/>
            <a:endParaRPr lang="de-DE" b="0" noProof="0" dirty="0"/>
          </a:p>
        </p:txBody>
      </p:sp>
    </p:spTree>
    <p:extLst>
      <p:ext uri="{BB962C8B-B14F-4D97-AF65-F5344CB8AC3E}">
        <p14:creationId xmlns:p14="http://schemas.microsoft.com/office/powerpoint/2010/main" val="283633983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V_Template_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400" y="651600"/>
            <a:ext cx="111963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de-DE" noProof="0" dirty="0"/>
              <a:t>First Name, Name</a:t>
            </a:r>
            <a:br>
              <a:rPr lang="de-DE" noProof="0" dirty="0"/>
            </a:br>
            <a:r>
              <a:rPr lang="de-DE" noProof="0" dirty="0"/>
              <a:t>Project </a:t>
            </a:r>
            <a:r>
              <a:rPr lang="de-DE" noProof="0" dirty="0" err="1"/>
              <a:t>Role</a:t>
            </a:r>
            <a:endParaRPr lang="de-DE" noProof="0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400" y="317500"/>
            <a:ext cx="111963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Bildplatzhalter 3"/>
          <p:cNvSpPr>
            <a:spLocks noGrp="1" noChangeAspect="1"/>
          </p:cNvSpPr>
          <p:nvPr>
            <p:ph type="pic" sz="quarter" idx="14"/>
          </p:nvPr>
        </p:nvSpPr>
        <p:spPr>
          <a:xfrm>
            <a:off x="500400" y="1670400"/>
            <a:ext cx="1260000" cy="1260000"/>
          </a:xfrm>
        </p:spPr>
        <p:txBody>
          <a:bodyPr>
            <a:noAutofit/>
          </a:bodyPr>
          <a:lstStyle/>
          <a:p>
            <a:endParaRPr lang="en-US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25200" y="3456000"/>
            <a:ext cx="2304000" cy="29268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dirty="0"/>
              <a:t>Business Skills, Technology Skills, Language</a:t>
            </a:r>
            <a:endParaRPr lang="de-DE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348000" y="3456000"/>
            <a:ext cx="2304000" cy="29268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dirty="0" err="1"/>
              <a:t>Industry</a:t>
            </a:r>
            <a:r>
              <a:rPr lang="de-DE" b="0" noProof="0" dirty="0"/>
              <a:t> Experience, </a:t>
            </a:r>
            <a:r>
              <a:rPr lang="de-DE" b="0" noProof="0" dirty="0" err="1"/>
              <a:t>Certificates</a:t>
            </a:r>
            <a:r>
              <a:rPr lang="de-DE" b="0" noProof="0" dirty="0"/>
              <a:t>, Education</a:t>
            </a:r>
            <a:endParaRPr lang="de-DE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1861200" y="1670400"/>
            <a:ext cx="3790800" cy="1260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dirty="0"/>
              <a:t>First-name Name, Level, </a:t>
            </a:r>
            <a:r>
              <a:rPr lang="de-DE" b="0" noProof="0" dirty="0" err="1"/>
              <a:t>Offering</a:t>
            </a:r>
            <a:r>
              <a:rPr lang="de-DE" b="0" noProof="0" dirty="0"/>
              <a:t> Portfolio, Talent Group, Office Location</a:t>
            </a:r>
            <a:endParaRPr lang="de-DE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339600" y="1951200"/>
            <a:ext cx="5357100" cy="1098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dirty="0" err="1"/>
              <a:t>Resume</a:t>
            </a:r>
            <a:r>
              <a:rPr lang="de-DE" b="0" noProof="0" dirty="0"/>
              <a:t> </a:t>
            </a:r>
            <a:r>
              <a:rPr lang="de-DE" b="0" noProof="0" dirty="0" err="1"/>
              <a:t>text</a:t>
            </a:r>
            <a:r>
              <a:rPr lang="de-DE" b="0" noProof="0" dirty="0"/>
              <a:t> </a:t>
            </a:r>
            <a:r>
              <a:rPr lang="de-DE" b="0" noProof="0" dirty="0" err="1"/>
              <a:t>runs</a:t>
            </a:r>
            <a:r>
              <a:rPr lang="de-DE" b="0" noProof="0" dirty="0"/>
              <a:t> </a:t>
            </a:r>
            <a:r>
              <a:rPr lang="de-DE" b="0" noProof="0" dirty="0" err="1"/>
              <a:t>here</a:t>
            </a:r>
            <a:r>
              <a:rPr lang="de-DE" b="0" noProof="0" dirty="0"/>
              <a:t> </a:t>
            </a:r>
            <a:r>
              <a:rPr lang="de-DE" b="0" noProof="0" dirty="0" err="1"/>
              <a:t>this</a:t>
            </a:r>
            <a:r>
              <a:rPr lang="de-DE" b="0" noProof="0" dirty="0"/>
              <a:t> </a:t>
            </a:r>
            <a:r>
              <a:rPr lang="de-DE" b="0" noProof="0" dirty="0" err="1"/>
              <a:t>is</a:t>
            </a:r>
            <a:r>
              <a:rPr lang="de-DE" b="0" noProof="0" dirty="0"/>
              <a:t> </a:t>
            </a:r>
            <a:r>
              <a:rPr lang="de-DE" b="0" noProof="0" dirty="0" err="1"/>
              <a:t>dummy</a:t>
            </a:r>
            <a:r>
              <a:rPr lang="de-DE" b="0" noProof="0" dirty="0"/>
              <a:t> </a:t>
            </a:r>
            <a:r>
              <a:rPr lang="de-DE" b="0" noProof="0" dirty="0" err="1"/>
              <a:t>text</a:t>
            </a:r>
            <a:r>
              <a:rPr lang="de-DE" b="0" noProof="0" dirty="0"/>
              <a:t> </a:t>
            </a:r>
            <a:r>
              <a:rPr lang="de-DE" b="0" noProof="0" dirty="0" err="1"/>
              <a:t>it</a:t>
            </a:r>
            <a:r>
              <a:rPr lang="de-DE" b="0" noProof="0" dirty="0"/>
              <a:t> </a:t>
            </a:r>
            <a:r>
              <a:rPr lang="de-DE" b="0" noProof="0" dirty="0" err="1"/>
              <a:t>is</a:t>
            </a:r>
            <a:r>
              <a:rPr lang="de-DE" b="0" noProof="0" dirty="0"/>
              <a:t> not </a:t>
            </a:r>
            <a:r>
              <a:rPr lang="de-DE" b="0" noProof="0" dirty="0" err="1"/>
              <a:t>here</a:t>
            </a:r>
            <a:r>
              <a:rPr lang="de-DE" b="0" noProof="0" dirty="0"/>
              <a:t> </a:t>
            </a:r>
            <a:r>
              <a:rPr lang="de-DE" b="0" noProof="0" dirty="0" err="1"/>
              <a:t>to</a:t>
            </a:r>
            <a:r>
              <a:rPr lang="de-DE" b="0" noProof="0" dirty="0"/>
              <a:t> </a:t>
            </a:r>
            <a:r>
              <a:rPr lang="de-DE" b="0" noProof="0" dirty="0" err="1"/>
              <a:t>be</a:t>
            </a:r>
            <a:r>
              <a:rPr lang="de-DE" b="0" noProof="0" dirty="0"/>
              <a:t> </a:t>
            </a:r>
            <a:r>
              <a:rPr lang="de-DE" b="0" noProof="0" dirty="0" err="1"/>
              <a:t>read</a:t>
            </a:r>
            <a:r>
              <a:rPr lang="de-DE" b="0" noProof="0" dirty="0"/>
              <a:t> </a:t>
            </a:r>
            <a:r>
              <a:rPr lang="de-DE" b="0" noProof="0" dirty="0" err="1"/>
              <a:t>it</a:t>
            </a:r>
            <a:r>
              <a:rPr lang="de-DE" b="0" noProof="0" dirty="0"/>
              <a:t> </a:t>
            </a:r>
            <a:r>
              <a:rPr lang="de-DE" b="0" noProof="0" dirty="0" err="1"/>
              <a:t>is</a:t>
            </a:r>
            <a:r>
              <a:rPr lang="de-DE" b="0" noProof="0" dirty="0"/>
              <a:t> </a:t>
            </a:r>
            <a:r>
              <a:rPr lang="de-DE" b="0" noProof="0" dirty="0" err="1"/>
              <a:t>here</a:t>
            </a:r>
            <a:r>
              <a:rPr lang="de-DE" b="0" noProof="0" dirty="0"/>
              <a:t> </a:t>
            </a:r>
            <a:r>
              <a:rPr lang="de-DE" b="0" noProof="0" dirty="0" err="1"/>
              <a:t>to</a:t>
            </a:r>
            <a:r>
              <a:rPr lang="de-DE" b="0" noProof="0" dirty="0"/>
              <a:t> </a:t>
            </a:r>
            <a:r>
              <a:rPr lang="de-DE" b="0" noProof="0" dirty="0" err="1"/>
              <a:t>show</a:t>
            </a:r>
            <a:r>
              <a:rPr lang="de-DE" b="0" noProof="0" dirty="0"/>
              <a:t> </a:t>
            </a:r>
            <a:r>
              <a:rPr lang="de-DE" b="0" noProof="0" dirty="0" err="1"/>
              <a:t>how</a:t>
            </a:r>
            <a:r>
              <a:rPr lang="de-DE" b="0" noProof="0" dirty="0"/>
              <a:t> </a:t>
            </a:r>
            <a:r>
              <a:rPr lang="de-DE" b="0" noProof="0" dirty="0" err="1"/>
              <a:t>this</a:t>
            </a:r>
            <a:r>
              <a:rPr lang="de-DE" b="0" noProof="0" dirty="0"/>
              <a:t> </a:t>
            </a:r>
            <a:r>
              <a:rPr lang="de-DE" b="0" noProof="0" dirty="0" err="1"/>
              <a:t>document</a:t>
            </a:r>
            <a:r>
              <a:rPr lang="de-DE" b="0" noProof="0" dirty="0"/>
              <a:t> will </a:t>
            </a:r>
            <a:r>
              <a:rPr lang="de-DE" b="0" noProof="0" dirty="0" err="1"/>
              <a:t>look</a:t>
            </a:r>
            <a:r>
              <a:rPr lang="de-DE" b="0" noProof="0" dirty="0"/>
              <a:t> </a:t>
            </a:r>
            <a:r>
              <a:rPr lang="de-DE" b="0" noProof="0" dirty="0" err="1"/>
              <a:t>when</a:t>
            </a:r>
            <a:r>
              <a:rPr lang="de-DE" b="0" noProof="0" dirty="0"/>
              <a:t> </a:t>
            </a:r>
            <a:r>
              <a:rPr lang="de-DE" b="0" noProof="0" dirty="0" err="1"/>
              <a:t>populated</a:t>
            </a:r>
            <a:r>
              <a:rPr lang="de-DE" b="0" noProof="0" dirty="0"/>
              <a:t> </a:t>
            </a:r>
            <a:r>
              <a:rPr lang="de-DE" b="0" noProof="0" dirty="0" err="1"/>
              <a:t>with</a:t>
            </a:r>
            <a:r>
              <a:rPr lang="de-DE" b="0" noProof="0" dirty="0"/>
              <a:t> real </a:t>
            </a:r>
            <a:r>
              <a:rPr lang="de-DE" b="0" noProof="0" dirty="0" err="1"/>
              <a:t>text</a:t>
            </a:r>
            <a:r>
              <a:rPr lang="de-DE" b="0" noProof="0" dirty="0"/>
              <a:t>.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159600" y="3456000"/>
            <a:ext cx="5537100" cy="2250000"/>
          </a:xfrm>
        </p:spPr>
        <p:txBody>
          <a:bodyPr>
            <a:noAutofit/>
          </a:bodyPr>
          <a:lstStyle>
            <a:lvl1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dirty="0" err="1"/>
              <a:t>Industry</a:t>
            </a:r>
            <a:r>
              <a:rPr lang="de-DE" b="0" noProof="0" dirty="0"/>
              <a:t>: </a:t>
            </a:r>
            <a:r>
              <a:rPr lang="de-DE" b="0" noProof="0" dirty="0" err="1"/>
              <a:t>Scope</a:t>
            </a:r>
            <a:r>
              <a:rPr lang="de-DE" b="0" noProof="0" dirty="0"/>
              <a:t>: Technology:</a:t>
            </a:r>
          </a:p>
          <a:p>
            <a:pPr lvl="0"/>
            <a:endParaRPr lang="de-DE" b="0" noProof="0" dirty="0"/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6339600" y="6055200"/>
            <a:ext cx="5357100" cy="324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dirty="0"/>
              <a:t>Client AG, Client Solutions GmbH, Client Ltd.</a:t>
            </a:r>
          </a:p>
          <a:p>
            <a:pPr lvl="0"/>
            <a:endParaRPr lang="de-DE" b="0" noProof="0" dirty="0"/>
          </a:p>
        </p:txBody>
      </p:sp>
    </p:spTree>
    <p:extLst>
      <p:ext uri="{BB962C8B-B14F-4D97-AF65-F5344CB8AC3E}">
        <p14:creationId xmlns:p14="http://schemas.microsoft.com/office/powerpoint/2010/main" val="4174050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Title Text"/>
          <p:cNvSpPr txBox="1">
            <a:spLocks noGrp="1"/>
          </p:cNvSpPr>
          <p:nvPr>
            <p:ph type="title"/>
          </p:nvPr>
        </p:nvSpPr>
        <p:spPr>
          <a:xfrm>
            <a:off x="914400" y="694944"/>
            <a:ext cx="10363200" cy="594361"/>
          </a:xfrm>
          <a:prstGeom prst="rect">
            <a:avLst/>
          </a:prstGeom>
        </p:spPr>
        <p:txBody>
          <a:bodyPr lIns="0" tIns="0" rIns="0" bIns="0" anchor="b"/>
          <a:lstStyle>
            <a:lvl1pPr algn="l" defTabSz="685800">
              <a:lnSpc>
                <a:spcPct val="85000"/>
              </a:lnSpc>
              <a:defRPr sz="3600" spc="-75">
                <a:latin typeface="Chronicle Display Black"/>
                <a:ea typeface="Chronicle Display Black"/>
                <a:cs typeface="Chronicle Display Black"/>
                <a:sym typeface="Chronicle Display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11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914721" y="1353312"/>
            <a:ext cx="10362880" cy="475489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defTabSz="914400">
              <a:lnSpc>
                <a:spcPct val="130000"/>
              </a:lnSpc>
              <a:spcBef>
                <a:spcPts val="1000"/>
              </a:spcBef>
              <a:buSzTx/>
              <a:buNone/>
              <a:defRPr sz="1200" spc="-30">
                <a:latin typeface="Open Sans"/>
                <a:ea typeface="Open Sans"/>
                <a:cs typeface="Open Sans"/>
                <a:sym typeface="Open Sans"/>
              </a:defRPr>
            </a:lvl1pPr>
            <a:lvl2pPr marL="381000" indent="-152400" defTabSz="914400">
              <a:lnSpc>
                <a:spcPct val="130000"/>
              </a:lnSpc>
              <a:spcBef>
                <a:spcPts val="1000"/>
              </a:spcBef>
              <a:buSzPct val="75000"/>
              <a:defRPr sz="1200" spc="-30">
                <a:latin typeface="Open Sans"/>
                <a:ea typeface="Open Sans"/>
                <a:cs typeface="Open Sans"/>
                <a:sym typeface="Open Sans"/>
              </a:defRPr>
            </a:lvl2pPr>
            <a:lvl3pPr marL="628650" indent="-171450" defTabSz="914400">
              <a:lnSpc>
                <a:spcPct val="130000"/>
              </a:lnSpc>
              <a:spcBef>
                <a:spcPts val="1000"/>
              </a:spcBef>
              <a:buSzPct val="75000"/>
              <a:defRPr sz="1200" spc="-30">
                <a:latin typeface="Open Sans"/>
                <a:ea typeface="Open Sans"/>
                <a:cs typeface="Open Sans"/>
                <a:sym typeface="Open Sans"/>
              </a:defRPr>
            </a:lvl3pPr>
            <a:lvl4pPr marL="881743" indent="-195943" defTabSz="914400">
              <a:lnSpc>
                <a:spcPct val="130000"/>
              </a:lnSpc>
              <a:spcBef>
                <a:spcPts val="1000"/>
              </a:spcBef>
              <a:buSzPct val="75000"/>
              <a:defRPr sz="1200" spc="-30">
                <a:latin typeface="Open Sans"/>
                <a:ea typeface="Open Sans"/>
                <a:cs typeface="Open Sans"/>
                <a:sym typeface="Open Sans"/>
              </a:defRPr>
            </a:lvl4pPr>
            <a:lvl5pPr marL="1110343" indent="-195943" defTabSz="914400">
              <a:lnSpc>
                <a:spcPct val="130000"/>
              </a:lnSpc>
              <a:spcBef>
                <a:spcPts val="1000"/>
              </a:spcBef>
              <a:buSzPct val="75000"/>
              <a:defRPr sz="1200" spc="-30">
                <a:latin typeface="Open Sans"/>
                <a:ea typeface="Open Sans"/>
                <a:cs typeface="Open Sans"/>
                <a:sym typeface="Open Sans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 lIns="91439" tIns="91439" rIns="91439" bIns="91439" anchor="ctr"/>
          <a:lstStyle>
            <a:lvl1pPr algn="r" defTabSz="914400">
              <a:defRPr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749198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6403AF-FAB8-425F-B7B3-1CED91E5B09F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204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1653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61" Type="http://schemas.openxmlformats.org/officeDocument/2006/relationships/oleObject" Target="../embeddings/oleObject1.bin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281322219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" name="think-cell Slide" r:id="rId61" imgW="270" imgH="270" progId="TCLayout.ActiveDocument.1">
                  <p:embed/>
                </p:oleObj>
              </mc:Choice>
              <mc:Fallback>
                <p:oleObj name="think-cell Slide" r:id="rId6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6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6000"/>
              </a:lnSpc>
              <a:buFont typeface="Wingdings 2" pitchFamily="18" charset="2"/>
              <a:buNone/>
            </a:pPr>
            <a:endParaRPr lang="en-US" sz="2100" b="0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 Light" panose="020F03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0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65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44" r:id="rId3"/>
    <p:sldLayoutId id="2147483900" r:id="rId4"/>
    <p:sldLayoutId id="2147483901" r:id="rId5"/>
    <p:sldLayoutId id="2147483902" r:id="rId6"/>
    <p:sldLayoutId id="2147483706" r:id="rId7"/>
    <p:sldLayoutId id="2147483707" r:id="rId8"/>
    <p:sldLayoutId id="2147483903" r:id="rId9"/>
    <p:sldLayoutId id="2147483904" r:id="rId10"/>
    <p:sldLayoutId id="2147483905" r:id="rId11"/>
    <p:sldLayoutId id="2147483906" r:id="rId12"/>
    <p:sldLayoutId id="2147483907" r:id="rId13"/>
    <p:sldLayoutId id="2147483908" r:id="rId14"/>
    <p:sldLayoutId id="2147483909" r:id="rId15"/>
    <p:sldLayoutId id="2147483910" r:id="rId16"/>
    <p:sldLayoutId id="2147483911" r:id="rId17"/>
    <p:sldLayoutId id="2147483912" r:id="rId18"/>
    <p:sldLayoutId id="2147483913" r:id="rId19"/>
    <p:sldLayoutId id="2147483914" r:id="rId20"/>
    <p:sldLayoutId id="2147483915" r:id="rId21"/>
    <p:sldLayoutId id="2147483916" r:id="rId22"/>
    <p:sldLayoutId id="2147483917" r:id="rId23"/>
    <p:sldLayoutId id="2147483918" r:id="rId24"/>
    <p:sldLayoutId id="2147483919" r:id="rId25"/>
    <p:sldLayoutId id="2147483920" r:id="rId26"/>
    <p:sldLayoutId id="2147483921" r:id="rId27"/>
    <p:sldLayoutId id="2147483922" r:id="rId28"/>
    <p:sldLayoutId id="2147483923" r:id="rId29"/>
    <p:sldLayoutId id="2147483924" r:id="rId30"/>
    <p:sldLayoutId id="2147483925" r:id="rId31"/>
    <p:sldLayoutId id="2147483926" r:id="rId32"/>
    <p:sldLayoutId id="2147483816" r:id="rId33"/>
    <p:sldLayoutId id="2147483813" r:id="rId34"/>
    <p:sldLayoutId id="2147483818" r:id="rId35"/>
    <p:sldLayoutId id="2147483819" r:id="rId36"/>
    <p:sldLayoutId id="2147483820" r:id="rId37"/>
    <p:sldLayoutId id="2147483821" r:id="rId38"/>
    <p:sldLayoutId id="2147483822" r:id="rId39"/>
    <p:sldLayoutId id="2147483823" r:id="rId40"/>
    <p:sldLayoutId id="2147483817" r:id="rId41"/>
    <p:sldLayoutId id="2147483824" r:id="rId42"/>
    <p:sldLayoutId id="2147483825" r:id="rId43"/>
    <p:sldLayoutId id="2147483828" r:id="rId44"/>
    <p:sldLayoutId id="2147483829" r:id="rId45"/>
    <p:sldLayoutId id="2147483830" r:id="rId46"/>
    <p:sldLayoutId id="2147483826" r:id="rId47"/>
    <p:sldLayoutId id="2147483831" r:id="rId48"/>
    <p:sldLayoutId id="2147483832" r:id="rId49"/>
    <p:sldLayoutId id="2147483827" r:id="rId50"/>
    <p:sldLayoutId id="2147483833" r:id="rId51"/>
    <p:sldLayoutId id="2147483927" r:id="rId52"/>
    <p:sldLayoutId id="2147483928" r:id="rId53"/>
    <p:sldLayoutId id="2147483945" r:id="rId54"/>
    <p:sldLayoutId id="2147483946" r:id="rId55"/>
    <p:sldLayoutId id="2147483947" r:id="rId56"/>
  </p:sldLayoutIdLst>
  <p:transition>
    <p:fade/>
  </p:transition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44" pos="5098" userDrawn="1">
          <p15:clr>
            <a:srgbClr val="F26B43"/>
          </p15:clr>
        </p15:guide>
        <p15:guide id="45" orient="horz" pos="2160" userDrawn="1">
          <p15:clr>
            <a:srgbClr val="F26B43"/>
          </p15:clr>
        </p15:guide>
        <p15:guide id="46" orient="horz" pos="3968" userDrawn="1">
          <p15:clr>
            <a:srgbClr val="F26B43"/>
          </p15:clr>
        </p15:guide>
        <p15:guide id="47" pos="312" userDrawn="1">
          <p15:clr>
            <a:srgbClr val="F26B43"/>
          </p15:clr>
        </p15:guide>
        <p15:guide id="48" pos="7368" userDrawn="1">
          <p15:clr>
            <a:srgbClr val="F26B43"/>
          </p15:clr>
        </p15:guide>
        <p15:guide id="49" orient="horz" pos="245" userDrawn="1">
          <p15:clr>
            <a:srgbClr val="F26B43"/>
          </p15:clr>
        </p15:guide>
        <p15:guide id="50" orient="horz" pos="4081" userDrawn="1">
          <p15:clr>
            <a:srgbClr val="F26B43"/>
          </p15:clr>
        </p15:guide>
        <p15:guide id="51" pos="4986" userDrawn="1">
          <p15:clr>
            <a:srgbClr val="F26B43"/>
          </p15:clr>
        </p15:guide>
        <p15:guide id="52" pos="1382" userDrawn="1">
          <p15:clr>
            <a:srgbClr val="F26B43"/>
          </p15:clr>
        </p15:guide>
        <p15:guide id="53" pos="1496" userDrawn="1">
          <p15:clr>
            <a:srgbClr val="F26B43"/>
          </p15:clr>
        </p15:guide>
        <p15:guide id="54" pos="2581" userDrawn="1">
          <p15:clr>
            <a:srgbClr val="F26B43"/>
          </p15:clr>
        </p15:guide>
        <p15:guide id="55" pos="2695" userDrawn="1">
          <p15:clr>
            <a:srgbClr val="F26B43"/>
          </p15:clr>
        </p15:guide>
        <p15:guide id="56" pos="6185" userDrawn="1">
          <p15:clr>
            <a:srgbClr val="F26B43"/>
          </p15:clr>
        </p15:guide>
        <p15:guide id="57" pos="3783" userDrawn="1">
          <p15:clr>
            <a:srgbClr val="F26B43"/>
          </p15:clr>
        </p15:guide>
        <p15:guide id="58" pos="3896" userDrawn="1">
          <p15:clr>
            <a:srgbClr val="F26B43"/>
          </p15:clr>
        </p15:guide>
        <p15:guide id="59" pos="3840" userDrawn="1">
          <p15:clr>
            <a:srgbClr val="F26B43"/>
          </p15:clr>
        </p15:guide>
        <p15:guide id="60" pos="6299" userDrawn="1">
          <p15:clr>
            <a:srgbClr val="F26B43"/>
          </p15:clr>
        </p15:guide>
        <p15:guide id="61" orient="horz" pos="1049" userDrawn="1">
          <p15:clr>
            <a:srgbClr val="F26B43"/>
          </p15:clr>
        </p15:guide>
        <p15:guide id="62" orient="horz" pos="641" userDrawn="1">
          <p15:clr>
            <a:srgbClr val="F26B43"/>
          </p15:clr>
        </p15:guide>
        <p15:guide id="6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simransingh@deloitte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platzhalter 21">
            <a:extLst>
              <a:ext uri="{FF2B5EF4-FFF2-40B4-BE49-F238E27FC236}">
                <a16:creationId xmlns:a16="http://schemas.microsoft.com/office/drawing/2014/main" id="{B1900919-1431-8A4C-A506-B21D5CCA9D3C}"/>
              </a:ext>
            </a:extLst>
          </p:cNvPr>
          <p:cNvSpPr txBox="1">
            <a:spLocks/>
          </p:cNvSpPr>
          <p:nvPr/>
        </p:nvSpPr>
        <p:spPr>
          <a:xfrm>
            <a:off x="437356" y="1294972"/>
            <a:ext cx="11171814" cy="1116677"/>
          </a:xfrm>
          <a:prstGeom prst="rect">
            <a:avLst/>
          </a:prstGeom>
        </p:spPr>
        <p:txBody>
          <a:bodyPr lIns="0" rIns="0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IE" sz="1100" b="1" i="0" u="none" strike="noStrike" kern="1200" cap="none" spc="0" normalizeH="0" baseline="0" noProof="0" dirty="0">
                <a:ln>
                  <a:noFill/>
                </a:ln>
                <a:solidFill>
                  <a:srgbClr val="86BC25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essional Summary:</a:t>
            </a:r>
          </a:p>
          <a:p>
            <a:r>
              <a:rPr lang="en-GB" sz="1100" dirty="0">
                <a:latin typeface="Verdana" panose="020B0604030504040204" pitchFamily="34" charset="0"/>
                <a:ea typeface="Verdana" panose="020B0604030504040204" pitchFamily="34" charset="0"/>
              </a:rPr>
              <a:t>Simran </a:t>
            </a:r>
            <a:r>
              <a:rPr lang="en-US" sz="1100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is a Consultant in SAMA A&amp;C at Deloitte and brings her expertise in </a:t>
            </a:r>
            <a:r>
              <a:rPr lang="en-US" sz="1100" b="1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SQL development. </a:t>
            </a:r>
            <a:r>
              <a:rPr lang="en-US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he</a:t>
            </a:r>
            <a:r>
              <a:rPr lang="en-GB" sz="1100" dirty="0">
                <a:latin typeface="Verdana" panose="020B0604030504040204" pitchFamily="34" charset="0"/>
                <a:ea typeface="Verdana" panose="020B0604030504040204" pitchFamily="34" charset="0"/>
              </a:rPr>
              <a:t> has a total professional experience of four and half years, of which she worked nine months at Deloitte India. She has earlier worked in client facing roles in Zensar Technologies and IBM.</a:t>
            </a: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</a:rPr>
              <a:t> She has worked as SQL developer. Along with this she has experience of creating dashboards using Power BI.</a:t>
            </a:r>
            <a:r>
              <a:rPr lang="en-GB" sz="1100" dirty="0">
                <a:latin typeface="Verdana" panose="020B0604030504040204" pitchFamily="34" charset="0"/>
                <a:ea typeface="Verdana" panose="020B0604030504040204" pitchFamily="34" charset="0"/>
              </a:rPr>
              <a:t> She has also worked closely to Scrum Masters and client to fulfil job of BA by creating use case. </a:t>
            </a: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</a:rPr>
              <a:t>At Deloitte, Simran has been trained on several cutting-edge technologies such as Snowflake, Data Visualization using Microsoft Power BI &amp; Tableau and overview of cloud services offered by Azure. Pursuing Executive MTech from IIT Patna.</a:t>
            </a:r>
          </a:p>
        </p:txBody>
      </p:sp>
      <p:sp>
        <p:nvSpPr>
          <p:cNvPr id="40" name="Textplatzhalter 22">
            <a:extLst>
              <a:ext uri="{FF2B5EF4-FFF2-40B4-BE49-F238E27FC236}">
                <a16:creationId xmlns:a16="http://schemas.microsoft.com/office/drawing/2014/main" id="{9A5A83AB-5FE0-414C-8FAB-22033B8FB5C6}"/>
              </a:ext>
            </a:extLst>
          </p:cNvPr>
          <p:cNvSpPr txBox="1">
            <a:spLocks/>
          </p:cNvSpPr>
          <p:nvPr/>
        </p:nvSpPr>
        <p:spPr>
          <a:xfrm>
            <a:off x="437356" y="2476073"/>
            <a:ext cx="3616851" cy="4130058"/>
          </a:xfrm>
          <a:prstGeom prst="rect">
            <a:avLst/>
          </a:prstGeom>
        </p:spPr>
        <p:txBody>
          <a:bodyPr lIns="0" rIns="0" numCol="1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IE" sz="1100" b="1" i="0" u="none" strike="noStrike" kern="1200" cap="none" spc="0" normalizeH="0" baseline="0" noProof="0" dirty="0">
                <a:ln>
                  <a:noFill/>
                </a:ln>
                <a:solidFill>
                  <a:srgbClr val="86BC25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levant skills:</a:t>
            </a:r>
          </a:p>
          <a:p>
            <a:pPr marL="228601" marR="0" lvl="1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6BC25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chnical:</a:t>
            </a:r>
          </a:p>
          <a:p>
            <a:pPr marL="228601" marR="0" lvl="0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sualization &amp; Reporting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: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Microsoft Power BI</a:t>
            </a:r>
          </a:p>
          <a:p>
            <a:pPr marL="228601" marR="0" lvl="0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</a:rPr>
              <a:t>Ticketing : TFS, Azure DevOps</a:t>
            </a:r>
          </a:p>
          <a:p>
            <a:pPr marL="228601" marR="0" lvl="0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</a:rPr>
              <a:t>Scheduling : UC4, SSI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28601" marR="0" lvl="0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gramming : SQL, C#, Snowflake, HTML</a:t>
            </a:r>
          </a:p>
          <a:p>
            <a:pPr marL="228601" marR="0" lvl="0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en-US" sz="1100" dirty="0">
                <a:solidFill>
                  <a:prstClr val="black"/>
                </a:solidFill>
                <a:latin typeface="Verdana"/>
              </a:rPr>
              <a:t>Methodology : Agile </a:t>
            </a:r>
          </a:p>
          <a:p>
            <a:pPr marL="228601" marR="0" lvl="0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</a:t>
            </a:r>
            <a:r>
              <a:rPr lang="en-US" altLang="en-US" sz="1100" dirty="0">
                <a:solidFill>
                  <a:prstClr val="black"/>
                </a:solidFill>
                <a:latin typeface="Verdana"/>
              </a:rPr>
              <a:t>loud : Azure</a:t>
            </a:r>
            <a:endParaRPr kumimoji="0" lang="en-US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28601" marR="0" lvl="0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altLang="en-US" sz="1100" dirty="0">
              <a:solidFill>
                <a:prstClr val="black"/>
              </a:solidFill>
              <a:latin typeface="Verdana"/>
            </a:endParaRPr>
          </a:p>
          <a:p>
            <a:pPr marL="228601" marR="0" lvl="0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altLang="en-US" sz="1100" dirty="0">
                <a:solidFill>
                  <a:srgbClr val="86BC25">
                    <a:lumMod val="75000"/>
                  </a:srgbClr>
                </a:solidFill>
                <a:latin typeface="Verdana"/>
              </a:rPr>
              <a:t>Domain:</a:t>
            </a:r>
          </a:p>
          <a:p>
            <a:pPr marL="228601" marR="0" lvl="0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en-US" sz="1100" dirty="0">
                <a:solidFill>
                  <a:prstClr val="black"/>
                </a:solidFill>
                <a:latin typeface="Verdana"/>
              </a:rPr>
              <a:t>Insurance</a:t>
            </a:r>
          </a:p>
          <a:p>
            <a:pPr marL="228601" marR="0" lvl="0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ealthcare</a:t>
            </a:r>
          </a:p>
          <a:p>
            <a:pPr marL="228601" marR="0" lvl="0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en-US" sz="1100" dirty="0">
                <a:solidFill>
                  <a:prstClr val="black"/>
                </a:solidFill>
                <a:latin typeface="Verdana"/>
              </a:rPr>
              <a:t>CSR</a:t>
            </a:r>
          </a:p>
          <a:p>
            <a:pPr marL="228601" marR="0" lvl="0" indent="-171450" algn="l" defTabSz="914400" rtl="0" eaLnBrk="1" fontAlgn="ctr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25252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86BC25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rtifications:</a:t>
            </a:r>
          </a:p>
          <a:p>
            <a:pPr marL="171450" marR="0" lvl="0" indent="-171450" algn="just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crosoft Certified : Azure Fundamentals (AZ-900)</a:t>
            </a:r>
          </a:p>
          <a:p>
            <a:pPr marL="171450" marR="0" lvl="0" indent="-171450" algn="just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</a:rPr>
              <a:t>Databricks Lakehouse Platform Accredit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71450" marR="0" lvl="0" indent="-171450" algn="just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IE" sz="1100" b="1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IE" sz="1100" b="1" i="0" u="none" strike="noStrike" kern="1200" cap="none" spc="0" normalizeH="0" baseline="0" noProof="0" dirty="0">
                <a:ln>
                  <a:noFill/>
                </a:ln>
                <a:solidFill>
                  <a:srgbClr val="86BC25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ducation:</a:t>
            </a:r>
          </a:p>
          <a:p>
            <a:pPr marL="235194" marR="0" lvl="2" indent="-235194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chelor of Engineering from Savitribai Phule Pune University</a:t>
            </a:r>
          </a:p>
        </p:txBody>
      </p:sp>
      <p:sp>
        <p:nvSpPr>
          <p:cNvPr id="41" name="Textplatzhalter 22">
            <a:extLst>
              <a:ext uri="{FF2B5EF4-FFF2-40B4-BE49-F238E27FC236}">
                <a16:creationId xmlns:a16="http://schemas.microsoft.com/office/drawing/2014/main" id="{C650DD21-0598-C346-9B86-571D983DA3ED}"/>
              </a:ext>
            </a:extLst>
          </p:cNvPr>
          <p:cNvSpPr txBox="1">
            <a:spLocks/>
          </p:cNvSpPr>
          <p:nvPr/>
        </p:nvSpPr>
        <p:spPr>
          <a:xfrm>
            <a:off x="4222377" y="2411649"/>
            <a:ext cx="7838560" cy="3855587"/>
          </a:xfrm>
          <a:prstGeom prst="rect">
            <a:avLst/>
          </a:prstGeom>
        </p:spPr>
        <p:txBody>
          <a:bodyPr lIns="0" rIns="0" numCol="1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IE" sz="1050" b="1" i="0" u="none" strike="noStrike" kern="1200" cap="none" spc="0" normalizeH="0" baseline="0" noProof="0" dirty="0">
                <a:ln>
                  <a:noFill/>
                </a:ln>
                <a:solidFill>
                  <a:srgbClr val="86BC25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Key Projects:</a:t>
            </a:r>
          </a:p>
          <a:p>
            <a:pPr marL="28574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Calibri" panose="020F0502020204030204" pitchFamily="34" charset="0"/>
            </a:endParaRPr>
          </a:p>
          <a:p>
            <a:pPr marL="230189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Power BI</a:t>
            </a:r>
          </a:p>
          <a:p>
            <a:pPr marL="58739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100" b="1" dirty="0">
                <a:solidFill>
                  <a:prstClr val="black"/>
                </a:solidFill>
                <a:latin typeface="Verdana"/>
                <a:cs typeface="Times New Roman" panose="02020603050405020304" pitchFamily="18" charset="0"/>
              </a:rPr>
              <a:t>     </a:t>
            </a:r>
            <a:r>
              <a:rPr lang="en-US" sz="1100" dirty="0">
                <a:solidFill>
                  <a:prstClr val="black"/>
                </a:solidFill>
                <a:latin typeface="Verdana"/>
                <a:cs typeface="Times New Roman" panose="02020603050405020304" pitchFamily="18" charset="0"/>
              </a:rPr>
              <a:t>Experienced in developing interactive dashboards.</a:t>
            </a:r>
            <a:endParaRPr lang="en-US" sz="1100" b="1" dirty="0">
              <a:solidFill>
                <a:prstClr val="black"/>
              </a:solidFill>
              <a:latin typeface="Verdana"/>
              <a:cs typeface="Times New Roman" panose="02020603050405020304" pitchFamily="18" charset="0"/>
            </a:endParaRPr>
          </a:p>
          <a:p>
            <a:pPr marL="58739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 </a:t>
            </a:r>
          </a:p>
          <a:p>
            <a:pPr marL="230189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Snowflake Developer</a:t>
            </a:r>
          </a:p>
          <a:p>
            <a:pPr marL="58739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100" b="1" dirty="0">
                <a:solidFill>
                  <a:prstClr val="black"/>
                </a:solidFill>
                <a:latin typeface="Verdana"/>
                <a:cs typeface="Times New Roman" panose="02020603050405020304" pitchFamily="18" charset="0"/>
              </a:rPr>
              <a:t>     </a:t>
            </a:r>
            <a:r>
              <a:rPr lang="en-US" sz="1100" dirty="0">
                <a:solidFill>
                  <a:prstClr val="black"/>
                </a:solidFill>
                <a:latin typeface="Verdana"/>
                <a:cs typeface="Times New Roman" panose="02020603050405020304" pitchFamily="18" charset="0"/>
              </a:rPr>
              <a:t>Experience on working in migration and build for snowflake environment.</a:t>
            </a:r>
          </a:p>
          <a:p>
            <a:pPr marL="58739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     </a:t>
            </a:r>
            <a:r>
              <a:rPr lang="en-US" sz="1100" dirty="0">
                <a:solidFill>
                  <a:prstClr val="black"/>
                </a:solidFill>
                <a:latin typeface="Verdana"/>
                <a:cs typeface="Times New Roman" panose="02020603050405020304" pitchFamily="18" charset="0"/>
              </a:rPr>
              <a:t>Well versed with different layer of snowflake and database object.</a:t>
            </a:r>
          </a:p>
          <a:p>
            <a:pPr marL="58739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     Exposure </a:t>
            </a:r>
            <a:r>
              <a:rPr lang="en-US" sz="1100" dirty="0">
                <a:solidFill>
                  <a:prstClr val="black"/>
                </a:solidFill>
                <a:latin typeface="Verdana"/>
                <a:cs typeface="Times New Roman" panose="02020603050405020304" pitchFamily="18" charset="0"/>
              </a:rPr>
              <a:t>to SnowSQL.</a:t>
            </a:r>
          </a:p>
          <a:p>
            <a:pPr marL="58739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  <a:cs typeface="Times New Roman" panose="02020603050405020304" pitchFamily="18" charset="0"/>
              </a:rPr>
              <a:t>     Role based access control to integrate active directory groups with the required access.</a:t>
            </a:r>
          </a:p>
          <a:p>
            <a:pPr marL="58739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  <a:cs typeface="Times New Roman" panose="02020603050405020304" pitchFamily="18" charset="0"/>
              </a:rPr>
              <a:t>    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Familiarity with building data ingestion and orchestration pipeline using AWS.</a:t>
            </a:r>
          </a:p>
          <a:p>
            <a:pPr marL="58739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  <a:cs typeface="Times New Roman" panose="02020603050405020304" pitchFamily="18" charset="0"/>
              </a:rPr>
              <a:t>     </a:t>
            </a: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Running copy commands to load data from AWS S3 stage to Snowflake tables.​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Times New Roman" panose="02020603050405020304" pitchFamily="18" charset="0"/>
            </a:endParaRPr>
          </a:p>
          <a:p>
            <a:pPr marL="58739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  <a:cs typeface="Times New Roman" panose="02020603050405020304" pitchFamily="18" charset="0"/>
              </a:rPr>
              <a:t>     Build non-functional requirements for Snowflake (CI/CD, monitoring, monitoring, data quality)</a:t>
            </a:r>
          </a:p>
          <a:p>
            <a:pPr marL="58739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  <a:t>     Well versed with Snowflake query profile, and snowflake information schema table.</a:t>
            </a:r>
            <a:b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Times New Roman" panose="02020603050405020304" pitchFamily="18" charset="0"/>
              </a:rPr>
            </a:b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    </a:t>
            </a:r>
          </a:p>
          <a:p>
            <a:pPr marL="230189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Calibri" panose="020F0502020204030204" pitchFamily="34" charset="0"/>
              </a:rPr>
              <a:t>SQL, SSIS, Dot Net Developer</a:t>
            </a:r>
          </a:p>
          <a:p>
            <a:pPr marL="285745"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Calibri" panose="020F0502020204030204" pitchFamily="34" charset="0"/>
              </a:rPr>
              <a:t>The roles was to do enhancement and development of Dot Net based applications. </a:t>
            </a:r>
          </a:p>
          <a:p>
            <a:pPr marL="285745"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Calibri" panose="020F0502020204030204" pitchFamily="34" charset="0"/>
              </a:rPr>
              <a:t>Creating SQL SP, Views</a:t>
            </a:r>
            <a:r>
              <a:rPr lang="en-US" sz="1100" dirty="0">
                <a:solidFill>
                  <a:prstClr val="black"/>
                </a:solidFill>
                <a:latin typeface="Verdana"/>
                <a:cs typeface="Calibri" panose="020F0502020204030204" pitchFamily="34" charset="0"/>
              </a:rPr>
              <a:t>. Strong SQL experience with complex queries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Calibri" panose="020F0502020204030204" pitchFamily="34" charset="0"/>
            </a:endParaRPr>
          </a:p>
          <a:p>
            <a:pPr marL="285745"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  <a:cs typeface="Calibri" panose="020F0502020204030204" pitchFamily="34" charset="0"/>
              </a:rPr>
              <a:t>SQL procedure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Calibri" panose="020F0502020204030204" pitchFamily="34" charset="0"/>
              </a:rPr>
              <a:t>performance tuning. </a:t>
            </a:r>
          </a:p>
          <a:p>
            <a:pPr marL="285745"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Calibri" panose="020F0502020204030204" pitchFamily="34" charset="0"/>
              </a:rPr>
              <a:t>Creating SSIS packages and maintain the data as per business rules.</a:t>
            </a:r>
          </a:p>
          <a:p>
            <a:pPr marL="58739"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    Creating jobs and automating the repetitive issues of production. </a:t>
            </a:r>
          </a:p>
          <a:p>
            <a:pPr marL="58739"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    Developing Power BI dashboard for client to automate the monthly reports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D6E408-E16A-459F-9C1F-007C7E4EF412}"/>
              </a:ext>
            </a:extLst>
          </p:cNvPr>
          <p:cNvSpPr txBox="1"/>
          <p:nvPr/>
        </p:nvSpPr>
        <p:spPr>
          <a:xfrm>
            <a:off x="1620982" y="251870"/>
            <a:ext cx="8951126" cy="5770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Open Sans" panose="020B0606030504020204" pitchFamily="34" charset="0"/>
                <a:cs typeface="Open Sans" panose="020B0606030504020204" pitchFamily="34" charset="0"/>
                <a:sym typeface="Knockout HTF26-JuniorFlyweight"/>
              </a:rPr>
              <a:t>Simran Singh</a:t>
            </a: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Verdana"/>
                <a:ea typeface="Open Sans" panose="020B0606030504020204" pitchFamily="34" charset="0"/>
                <a:cs typeface="Open Sans" panose="020B0606030504020204" pitchFamily="34" charset="0"/>
                <a:sym typeface="Knockout HTF26-JuniorFlyweight"/>
              </a:rPr>
              <a:t>|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86BC25">
                    <a:lumMod val="75000"/>
                  </a:srgbClr>
                </a:solidFill>
                <a:effectLst/>
                <a:uLnTx/>
                <a:uFillTx/>
                <a:latin typeface="Verdana"/>
                <a:ea typeface="Open Sans" panose="020B0606030504020204" pitchFamily="34" charset="0"/>
                <a:cs typeface="Open Sans" panose="020B0606030504020204" pitchFamily="34" charset="0"/>
                <a:sym typeface="Knockout HTF26-JuniorFlyweight"/>
              </a:rPr>
              <a:t>Consultant – Consulting SAMA: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86BC25">
                    <a:lumMod val="75000"/>
                  </a:srgbClr>
                </a:solidFill>
                <a:effectLst/>
                <a:uLnTx/>
                <a:uFillTx/>
                <a:latin typeface="Verdana"/>
                <a:ea typeface="Open Sans" panose="020B0606030504020204" pitchFamily="34" charset="0"/>
                <a:cs typeface="Open Sans" panose="020B0606030504020204" pitchFamily="34" charset="0"/>
              </a:rPr>
              <a:t> Analytics &amp; Cognitive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86BC25">
                  <a:lumMod val="75000"/>
                </a:srgbClr>
              </a:solidFill>
              <a:effectLst/>
              <a:uLnTx/>
              <a:uFillTx/>
              <a:latin typeface="Verdana"/>
              <a:ea typeface="Open Sans" panose="020B0606030504020204" pitchFamily="34" charset="0"/>
              <a:cs typeface="Open Sans" panose="020B0606030504020204" pitchFamily="34" charset="0"/>
              <a:sym typeface="Knockout HTF26-JuniorFlywe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100" dirty="0">
                <a:solidFill>
                  <a:srgbClr val="313131"/>
                </a:solidFill>
                <a:latin typeface="Verdana"/>
                <a:hlinkClick r:id="rId3"/>
              </a:rPr>
              <a:t>simransing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hlinkClick r:id="rId3"/>
              </a:rPr>
              <a:t>@deloitte.co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|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loitte Touché Tohmatsu India LLP , Mumbai</a:t>
            </a:r>
            <a:r>
              <a:rPr lang="en-US" sz="1100" dirty="0">
                <a:solidFill>
                  <a:prstClr val="black"/>
                </a:solidFill>
                <a:latin typeface="Verdana"/>
              </a:rPr>
              <a:t>                   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bile: +91 7218218899	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platzhalter 21">
            <a:extLst>
              <a:ext uri="{FF2B5EF4-FFF2-40B4-BE49-F238E27FC236}">
                <a16:creationId xmlns:a16="http://schemas.microsoft.com/office/drawing/2014/main" id="{D89BCE0C-B3C3-4E38-AF21-F5108B3989E5}"/>
              </a:ext>
            </a:extLst>
          </p:cNvPr>
          <p:cNvSpPr txBox="1">
            <a:spLocks/>
          </p:cNvSpPr>
          <p:nvPr/>
        </p:nvSpPr>
        <p:spPr>
          <a:xfrm>
            <a:off x="434064" y="1294974"/>
            <a:ext cx="11364232" cy="1116675"/>
          </a:xfrm>
          <a:prstGeom prst="rect">
            <a:avLst/>
          </a:prstGeom>
        </p:spPr>
        <p:txBody>
          <a:bodyPr lIns="0" rIns="0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Textplatzhalter 22">
            <a:extLst>
              <a:ext uri="{FF2B5EF4-FFF2-40B4-BE49-F238E27FC236}">
                <a16:creationId xmlns:a16="http://schemas.microsoft.com/office/drawing/2014/main" id="{185A4B69-07A1-48EA-AF7D-EC24002CE39C}"/>
              </a:ext>
            </a:extLst>
          </p:cNvPr>
          <p:cNvSpPr txBox="1">
            <a:spLocks/>
          </p:cNvSpPr>
          <p:nvPr/>
        </p:nvSpPr>
        <p:spPr>
          <a:xfrm>
            <a:off x="4222376" y="2271283"/>
            <a:ext cx="7575920" cy="4399270"/>
          </a:xfrm>
          <a:prstGeom prst="rect">
            <a:avLst/>
          </a:prstGeom>
        </p:spPr>
        <p:txBody>
          <a:bodyPr lIns="0" rIns="0" numCol="1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altLang="he-I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DE3AF2-4036-41B6-B655-5F88D8F3EE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68635" y="-1"/>
            <a:ext cx="923365" cy="876495"/>
          </a:xfrm>
          <a:prstGeom prst="rect">
            <a:avLst/>
          </a:prstGeom>
        </p:spPr>
      </p:pic>
      <p:pic>
        <p:nvPicPr>
          <p:cNvPr id="10" name="Picture Placeholder 2" descr="A person with long hair&#10;&#10;Description automatically generated with low confidence">
            <a:extLst>
              <a:ext uri="{FF2B5EF4-FFF2-40B4-BE49-F238E27FC236}">
                <a16:creationId xmlns:a16="http://schemas.microsoft.com/office/drawing/2014/main" id="{F3F429B8-6CEC-4BB4-AB18-CD8A3DD43B2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78" b="12478"/>
          <a:stretch>
            <a:fillRect/>
          </a:stretch>
        </p:blipFill>
        <p:spPr>
          <a:xfrm>
            <a:off x="171423" y="35259"/>
            <a:ext cx="1260475" cy="1260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79783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t5jH0r8l716MKfs6qwpg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Standard.pptx" id="{8984D40D-9129-44C7-8CCF-16D717DE5D85}" vid="{BCD16DC6-DC8A-4B5D-8424-00A21051ED3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F03A48FDBC4945A7BAF3818D7E4FA1" ma:contentTypeVersion="4" ma:contentTypeDescription="Create a new document." ma:contentTypeScope="" ma:versionID="ddad24ae51869789c1094b5208cb45ec">
  <xsd:schema xmlns:xsd="http://www.w3.org/2001/XMLSchema" xmlns:xs="http://www.w3.org/2001/XMLSchema" xmlns:p="http://schemas.microsoft.com/office/2006/metadata/properties" xmlns:ns2="bc212ed5-25dc-46e9-b0aa-8dc1ace6d320" targetNamespace="http://schemas.microsoft.com/office/2006/metadata/properties" ma:root="true" ma:fieldsID="f818c5cbe5c75da2595d26bded40a3f9" ns2:_="">
    <xsd:import namespace="bc212ed5-25dc-46e9-b0aa-8dc1ace6d320"/>
    <xsd:element name="properties">
      <xsd:complexType>
        <xsd:sequence>
          <xsd:element name="documentManagement">
            <xsd:complexType>
              <xsd:all>
                <xsd:element ref="ns2:Resume_x0020_Templ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212ed5-25dc-46e9-b0aa-8dc1ace6d320" elementFormDefault="qualified">
    <xsd:import namespace="http://schemas.microsoft.com/office/2006/documentManagement/types"/>
    <xsd:import namespace="http://schemas.microsoft.com/office/infopath/2007/PartnerControls"/>
    <xsd:element name="Resume_x0020_Template" ma:index="8" nillable="true" ma:displayName="Resume Template" ma:internalName="Resume_x0020_Templat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sume_x0020_Template xmlns="bc212ed5-25dc-46e9-b0aa-8dc1ace6d320">DCE Consulting Resume Template</Resume_x0020_Template>
  </documentManagement>
</p:properties>
</file>

<file path=customXml/itemProps1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1FF701-CA73-4E33-9A6F-E98F8001B6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212ed5-25dc-46e9-b0aa-8dc1ace6d3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A05E49B-70B5-4FEC-89D5-F69F52BE5B81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  <ds:schemaRef ds:uri="bc212ed5-25dc-46e9-b0aa-8dc1ace6d32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16_9_Standard</Template>
  <TotalTime>1097</TotalTime>
  <Words>431</Words>
  <Application>Microsoft Office PowerPoint</Application>
  <PresentationFormat>Widescreen</PresentationFormat>
  <Paragraphs>4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Calibri Light</vt:lpstr>
      <vt:lpstr>Chronicle Display Black</vt:lpstr>
      <vt:lpstr>Open Sans</vt:lpstr>
      <vt:lpstr>Verdana</vt:lpstr>
      <vt:lpstr>Wingdings</vt:lpstr>
      <vt:lpstr>Wingdings 2</vt:lpstr>
      <vt:lpstr>Deloitte Brand Theme</vt:lpstr>
      <vt:lpstr>think-cell Slide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ument heading in  Calibri Light green that can be up to three lines of text</dc:title>
  <dc:creator>Stelling, Hauke</dc:creator>
  <cp:lastModifiedBy>Singh, Simran</cp:lastModifiedBy>
  <cp:revision>78</cp:revision>
  <cp:lastPrinted>2014-06-25T02:16:22Z</cp:lastPrinted>
  <dcterms:created xsi:type="dcterms:W3CDTF">2020-06-09T09:05:56Z</dcterms:created>
  <dcterms:modified xsi:type="dcterms:W3CDTF">2023-03-22T07:4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F03A48FDBC4945A7BAF3818D7E4FA1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8-26T11:47:23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74215933-8945-4e33-b00e-9675f815e98c</vt:lpwstr>
  </property>
  <property fmtid="{D5CDD505-2E9C-101B-9397-08002B2CF9AE}" pid="9" name="MSIP_Label_ea60d57e-af5b-4752-ac57-3e4f28ca11dc_ContentBits">
    <vt:lpwstr>0</vt:lpwstr>
  </property>
</Properties>
</file>